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5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1" r:id="rId1"/>
    <p:sldMasterId id="2147483718" r:id="rId2"/>
  </p:sldMasterIdLst>
  <p:notesMasterIdLst>
    <p:notesMasterId r:id="rId29"/>
  </p:notesMasterIdLst>
  <p:handoutMasterIdLst>
    <p:handoutMasterId r:id="rId30"/>
  </p:handoutMasterIdLst>
  <p:sldIdLst>
    <p:sldId id="303" r:id="rId3"/>
    <p:sldId id="304" r:id="rId4"/>
    <p:sldId id="273" r:id="rId5"/>
    <p:sldId id="305" r:id="rId6"/>
    <p:sldId id="302" r:id="rId7"/>
    <p:sldId id="306" r:id="rId8"/>
    <p:sldId id="307" r:id="rId9"/>
    <p:sldId id="308" r:id="rId10"/>
    <p:sldId id="309" r:id="rId11"/>
    <p:sldId id="310" r:id="rId12"/>
    <p:sldId id="311" r:id="rId13"/>
    <p:sldId id="312" r:id="rId14"/>
    <p:sldId id="313" r:id="rId15"/>
    <p:sldId id="314" r:id="rId16"/>
    <p:sldId id="315" r:id="rId17"/>
    <p:sldId id="316" r:id="rId18"/>
    <p:sldId id="317" r:id="rId19"/>
    <p:sldId id="318" r:id="rId20"/>
    <p:sldId id="319" r:id="rId21"/>
    <p:sldId id="320" r:id="rId22"/>
    <p:sldId id="321" r:id="rId23"/>
    <p:sldId id="322" r:id="rId24"/>
    <p:sldId id="323" r:id="rId25"/>
    <p:sldId id="324" r:id="rId26"/>
    <p:sldId id="326" r:id="rId27"/>
    <p:sldId id="325" r:id="rId28"/>
  </p:sldIdLst>
  <p:sldSz cx="9144000" cy="5143500" type="screen16x9"/>
  <p:notesSz cx="6858000" cy="9144000"/>
  <p:embeddedFontLst>
    <p:embeddedFont>
      <p:font typeface="Wingdings 2" panose="05020102010507070707" pitchFamily="18" charset="2"/>
      <p:regular r:id="rId31"/>
    </p:embeddedFont>
    <p:embeddedFont>
      <p:font typeface="Fujitsu Sans" panose="020B0404060202020204" pitchFamily="34" charset="0"/>
      <p:regular r:id="rId32"/>
      <p:bold r:id="rId33"/>
      <p:italic r:id="rId34"/>
      <p:boldItalic r:id="rId35"/>
    </p:embeddedFont>
    <p:embeddedFont>
      <p:font typeface="ＭＳ Ｐゴシック" panose="020B0600070205080204" pitchFamily="34" charset="-128"/>
      <p:regular r:id="rId36"/>
    </p:embeddedFont>
    <p:embeddedFont>
      <p:font typeface="Meiryo UI" panose="020B0604020202020204" charset="0"/>
      <p:regular r:id="rId37"/>
      <p:bold r:id="rId38"/>
      <p:italic r:id="rId39"/>
      <p:boldItalic r:id="rId40"/>
    </p:embeddedFont>
    <p:embeddedFont>
      <p:font typeface="Calibri" panose="020F0502020204030204" pitchFamily="34" charset="0"/>
      <p:regular r:id="rId41"/>
      <p:bold r:id="rId42"/>
      <p:italic r:id="rId43"/>
      <p:boldItalic r:id="rId44"/>
    </p:embeddedFont>
    <p:embeddedFont>
      <p:font typeface="Fujitsu Sans 2020 Medium" panose="020B0604020202020204" charset="0"/>
      <p:regular r:id="rId45"/>
      <p:italic r:id="rId46"/>
      <p:boldItalic r:id="rId47"/>
    </p:embeddedFont>
    <p:embeddedFont>
      <p:font typeface="Fujitsu Sans 2020 Light" panose="020B0604020202020204" charset="0"/>
      <p:regular r:id="rId48"/>
      <p:bold r:id="rId49"/>
      <p:italic r:id="rId50"/>
      <p:boldItalic r:id="rId51"/>
    </p:embeddedFont>
    <p:embeddedFont>
      <p:font typeface="Fujitsu Sans Medium" panose="020B0504060202020204" pitchFamily="34" charset="0"/>
      <p:regular r:id="rId52"/>
      <p:italic r:id="rId53"/>
    </p:embeddedFont>
    <p:embeddedFont>
      <p:font typeface="Arial Unicode MS" panose="020B0604020202020204" charset="-128"/>
      <p:regular r:id="rId54"/>
    </p:embeddedFont>
    <p:embeddedFont>
      <p:font typeface="Fujitsu Sans 2020" panose="020B0604020202020204" charset="0"/>
      <p:regular r:id="rId55"/>
      <p:bold r:id="rId56"/>
      <p:italic r:id="rId57"/>
      <p:boldItalic r:id="rId58"/>
    </p:embeddedFont>
    <p:embeddedFont>
      <p:font typeface="Fujitsu Sans Light" panose="020B0304060202020204" pitchFamily="34" charset="0"/>
      <p:regular r:id="rId59"/>
      <p:italic r:id="rId60"/>
    </p:embeddedFont>
  </p:embeddedFontLst>
  <p:custDataLst>
    <p:tags r:id="rId6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6">
          <p15:clr>
            <a:srgbClr val="A4A3A4"/>
          </p15:clr>
        </p15:guide>
        <p15:guide id="2" orient="horz">
          <p15:clr>
            <a:srgbClr val="A4A3A4"/>
          </p15:clr>
        </p15:guide>
        <p15:guide id="3" orient="horz" pos="667">
          <p15:clr>
            <a:srgbClr val="A4A3A4"/>
          </p15:clr>
        </p15:guide>
        <p15:guide id="4" pos="158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3974">
          <p15:clr>
            <a:srgbClr val="A4A3A4"/>
          </p15:clr>
        </p15:guide>
        <p15:guide id="3" pos="3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0000"/>
    <a:srgbClr val="FCD8DB"/>
    <a:srgbClr val="A30B1A"/>
    <a:srgbClr val="F6CACA"/>
    <a:srgbClr val="861718"/>
    <a:srgbClr val="F00000"/>
    <a:srgbClr val="105D9C"/>
    <a:srgbClr val="E3E2E1"/>
    <a:srgbClr val="DAD9D6"/>
    <a:srgbClr val="1782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0752" autoAdjust="0"/>
  </p:normalViewPr>
  <p:slideViewPr>
    <p:cSldViewPr showGuides="1">
      <p:cViewPr varScale="1">
        <p:scale>
          <a:sx n="123" d="100"/>
          <a:sy n="123" d="100"/>
        </p:scale>
        <p:origin x="1290" y="90"/>
      </p:cViewPr>
      <p:guideLst>
        <p:guide orient="horz" pos="3026"/>
        <p:guide orient="horz"/>
        <p:guide orient="horz" pos="667"/>
        <p:guide pos="158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6132" y="1518"/>
      </p:cViewPr>
      <p:guideLst>
        <p:guide orient="horz" pos="2880"/>
        <p:guide pos="3974"/>
        <p:guide pos="3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font" Target="fonts/font17.fntdata"/><Relationship Id="rId50" Type="http://schemas.openxmlformats.org/officeDocument/2006/relationships/font" Target="fonts/font20.fntdata"/><Relationship Id="rId55" Type="http://schemas.openxmlformats.org/officeDocument/2006/relationships/font" Target="fonts/font25.fntdata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3" Type="http://schemas.openxmlformats.org/officeDocument/2006/relationships/font" Target="fonts/font23.fntdata"/><Relationship Id="rId58" Type="http://schemas.openxmlformats.org/officeDocument/2006/relationships/font" Target="fonts/font28.fntdata"/><Relationship Id="rId5" Type="http://schemas.openxmlformats.org/officeDocument/2006/relationships/slide" Target="slides/slide3.xml"/><Relationship Id="rId61" Type="http://schemas.openxmlformats.org/officeDocument/2006/relationships/tags" Target="tags/tag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font" Target="fonts/font18.fntdata"/><Relationship Id="rId56" Type="http://schemas.openxmlformats.org/officeDocument/2006/relationships/font" Target="fonts/font26.fntdata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font" Target="fonts/font21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59" Type="http://schemas.openxmlformats.org/officeDocument/2006/relationships/font" Target="fonts/font29.fntdata"/><Relationship Id="rId20" Type="http://schemas.openxmlformats.org/officeDocument/2006/relationships/slide" Target="slides/slide18.xml"/><Relationship Id="rId41" Type="http://schemas.openxmlformats.org/officeDocument/2006/relationships/font" Target="fonts/font11.fntdata"/><Relationship Id="rId54" Type="http://schemas.openxmlformats.org/officeDocument/2006/relationships/font" Target="fonts/font24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6.fntdata"/><Relationship Id="rId49" Type="http://schemas.openxmlformats.org/officeDocument/2006/relationships/font" Target="fonts/font19.fntdata"/><Relationship Id="rId57" Type="http://schemas.openxmlformats.org/officeDocument/2006/relationships/font" Target="fonts/font27.fntdata"/><Relationship Id="rId10" Type="http://schemas.openxmlformats.org/officeDocument/2006/relationships/slide" Target="slides/slide8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openxmlformats.org/officeDocument/2006/relationships/font" Target="fonts/font22.fntdata"/><Relationship Id="rId60" Type="http://schemas.openxmlformats.org/officeDocument/2006/relationships/font" Target="fonts/font30.fntdata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font" Target="fonts/font9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GB" sz="800" dirty="0">
              <a:latin typeface="Fujitsu Sans 2020" panose="020B040406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GB" sz="800" smtClean="0">
                <a:latin typeface="Fujitsu Sans 2020" panose="020B0404060202020204" pitchFamily="34" charset="0"/>
              </a:rPr>
              <a:pPr/>
              <a:t>‹Nr.›</a:t>
            </a:fld>
            <a:endParaRPr lang="en-GB" sz="800" dirty="0">
              <a:latin typeface="Fujitsu Sans 2020" panose="020B0404060202020204" pitchFamily="34" charset="0"/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sz="800" dirty="0">
                <a:latin typeface="Fujitsu Sans 2020" panose="020B0404060202020204" pitchFamily="34" charset="0"/>
              </a:rPr>
              <a:t>© FUJITSU 2021</a:t>
            </a:r>
          </a:p>
        </p:txBody>
      </p:sp>
      <p:grpSp>
        <p:nvGrpSpPr>
          <p:cNvPr id="11" name="Group 20"/>
          <p:cNvGrpSpPr/>
          <p:nvPr/>
        </p:nvGrpSpPr>
        <p:grpSpPr bwMode="black">
          <a:xfrm>
            <a:off x="257175" y="250200"/>
            <a:ext cx="636270" cy="141161"/>
            <a:chOff x="1219189" y="6312097"/>
            <a:chExt cx="636270" cy="210711"/>
          </a:xfrm>
        </p:grpSpPr>
        <p:sp>
          <p:nvSpPr>
            <p:cNvPr id="14" name="Rounded Rectangle 21"/>
            <p:cNvSpPr/>
            <p:nvPr userDrawn="1"/>
          </p:nvSpPr>
          <p:spPr bwMode="black">
            <a:xfrm>
              <a:off x="1219189" y="6312097"/>
              <a:ext cx="636270" cy="210711"/>
            </a:xfrm>
            <a:prstGeom prst="roundRect">
              <a:avLst>
                <a:gd name="adj" fmla="val 50000"/>
              </a:avLst>
            </a:prstGeom>
            <a:noFill/>
            <a:ln w="6350" cap="flat" cmpd="sng" algn="ctr">
              <a:solidFill>
                <a:srgbClr val="F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98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Rectangle 22"/>
            <p:cNvSpPr/>
            <p:nvPr userDrawn="1"/>
          </p:nvSpPr>
          <p:spPr bwMode="black">
            <a:xfrm>
              <a:off x="1243066" y="6322125"/>
              <a:ext cx="570483" cy="179903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marL="0" marR="0" lvl="0" indent="0" algn="ctr" defTabSz="1218673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ja-JP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00000"/>
                  </a:solidFill>
                  <a:effectLst/>
                  <a:uLnTx/>
                  <a:uFillTx/>
                  <a:latin typeface="Fujitsu Sans 2020 Medium" panose="020B0504060202020204" pitchFamily="34" charset="0"/>
                  <a:ea typeface="+mn-ea"/>
                  <a:cs typeface="+mn-cs"/>
                </a:rPr>
                <a:t>Unclassified</a:t>
              </a:r>
              <a:endParaRPr kumimoji="1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F00000"/>
                </a:solidFill>
                <a:effectLst/>
                <a:uLnTx/>
                <a:uFillTx/>
                <a:latin typeface="Fujitsu Sans 2020 Medium" panose="020B050406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93831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latin typeface="Fujitsu Sans 2020" panose="020B040406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latin typeface="Fujitsu Sans 2020" panose="020B0404060202020204" pitchFamily="34" charset="0"/>
              </a:defRPr>
            </a:lvl1pPr>
          </a:lstStyle>
          <a:p>
            <a:fld id="{12BC81D3-C59B-4C63-B840-07ACB8BAB3C6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latin typeface="Fujitsu Sans 2020" panose="020B0404060202020204" pitchFamily="34" charset="0"/>
              </a:defRPr>
            </a:lvl1pPr>
          </a:lstStyle>
          <a:p>
            <a:r>
              <a:rPr lang="en-GB" dirty="0"/>
              <a:t>© FUJITSU 2021</a:t>
            </a:r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9275" y="4572000"/>
            <a:ext cx="5759450" cy="3886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grpSp>
        <p:nvGrpSpPr>
          <p:cNvPr id="10" name="Group 20"/>
          <p:cNvGrpSpPr/>
          <p:nvPr/>
        </p:nvGrpSpPr>
        <p:grpSpPr bwMode="black">
          <a:xfrm>
            <a:off x="257175" y="250200"/>
            <a:ext cx="636270" cy="141161"/>
            <a:chOff x="1219189" y="6312097"/>
            <a:chExt cx="636270" cy="210711"/>
          </a:xfrm>
        </p:grpSpPr>
        <p:sp>
          <p:nvSpPr>
            <p:cNvPr id="11" name="Rounded Rectangle 21"/>
            <p:cNvSpPr/>
            <p:nvPr userDrawn="1"/>
          </p:nvSpPr>
          <p:spPr bwMode="black">
            <a:xfrm>
              <a:off x="1219189" y="6312097"/>
              <a:ext cx="636270" cy="210711"/>
            </a:xfrm>
            <a:prstGeom prst="roundRect">
              <a:avLst>
                <a:gd name="adj" fmla="val 50000"/>
              </a:avLst>
            </a:prstGeom>
            <a:noFill/>
            <a:ln w="6350" cap="flat" cmpd="sng" algn="ctr">
              <a:solidFill>
                <a:srgbClr val="F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98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22"/>
            <p:cNvSpPr/>
            <p:nvPr userDrawn="1"/>
          </p:nvSpPr>
          <p:spPr bwMode="black">
            <a:xfrm>
              <a:off x="1243066" y="6322125"/>
              <a:ext cx="570483" cy="179903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marL="0" marR="0" lvl="0" indent="0" algn="ctr" defTabSz="1218673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ja-JP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00000"/>
                  </a:solidFill>
                  <a:effectLst/>
                  <a:uLnTx/>
                  <a:uFillTx/>
                  <a:latin typeface="Fujitsu Sans 2020 Medium" panose="020B0504060202020204" pitchFamily="34" charset="0"/>
                  <a:ea typeface="+mn-ea"/>
                  <a:cs typeface="+mn-cs"/>
                </a:rPr>
                <a:t>Unclassified</a:t>
              </a:r>
              <a:endParaRPr kumimoji="1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F00000"/>
                </a:solidFill>
                <a:effectLst/>
                <a:uLnTx/>
                <a:uFillTx/>
                <a:latin typeface="Fujitsu Sans 2020 Medium" panose="020B050406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93713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Fujitsu Sans 2020" panose="020B0404060202020204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Fujitsu Sans 2020" panose="020B0404060202020204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Fujitsu Sans 2020" panose="020B0404060202020204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Fujitsu Sans 2020" panose="020B0404060202020204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Fujitsu Sans 2020" panose="020B0404060202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600" kern="1200" dirty="0">
              <a:solidFill>
                <a:schemeClr val="tx1"/>
              </a:solidFill>
              <a:effectLst/>
              <a:latin typeface="Fujitsu Sans" panose="020B040406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Copyright 2011 FUJITS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49478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1577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9774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3787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987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700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7077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4653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888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9472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87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/>
          <a:lstStyle/>
          <a:p>
            <a:pPr marL="342900" indent="-342900">
              <a:buAutoNum type="arabicPeriod"/>
            </a:pP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BC81D3-C59B-4C63-B840-07ACB8BAB3C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 2017 FUJITS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0580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2574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50626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1405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Copyright 2011 FUJITS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021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82563" indent="-182563"/>
            <a:endParaRPr lang="de-DE" altLang="ja-JP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600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342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82563" indent="-182563"/>
            <a:r>
              <a:rPr lang="de-DE" sz="1600" b="0" i="0" kern="1200" dirty="0" smtClean="0">
                <a:solidFill>
                  <a:schemeClr val="tx1"/>
                </a:solidFill>
                <a:effectLst/>
                <a:latin typeface="Fujitsu Sans 2020" panose="020B0404060202020204" pitchFamily="34" charset="0"/>
                <a:ea typeface="+mn-ea"/>
                <a:cs typeface="Arial" pitchFamily="34" charset="0"/>
              </a:rPr>
              <a:t>EDSFF = Enterprise &amp; Data Center SSD Form </a:t>
            </a:r>
            <a:r>
              <a:rPr lang="de-DE" sz="1600" b="0" i="0" kern="1200" dirty="0" err="1" smtClean="0">
                <a:solidFill>
                  <a:schemeClr val="tx1"/>
                </a:solidFill>
                <a:effectLst/>
                <a:latin typeface="Fujitsu Sans 2020" panose="020B0404060202020204" pitchFamily="34" charset="0"/>
                <a:ea typeface="+mn-ea"/>
                <a:cs typeface="Arial" pitchFamily="34" charset="0"/>
              </a:rPr>
              <a:t>Factor</a:t>
            </a:r>
            <a:endParaRPr lang="de-DE" altLang="ja-JP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169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82563" indent="-182563"/>
            <a:endParaRPr lang="de-DE" altLang="ja-JP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27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80667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3727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 FUJITSU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994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/>
              <a:t>Click to add title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1017905"/>
            <a:ext cx="8642350" cy="164628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31775" indent="-231775">
              <a:spcBef>
                <a:spcPts val="300"/>
              </a:spcBef>
              <a:spcAft>
                <a:spcPts val="200"/>
              </a:spcAft>
              <a:defRPr>
                <a:latin typeface="Fujitsu Sans 2020" panose="020B0404060202020204" pitchFamily="34" charset="0"/>
              </a:defRPr>
            </a:lvl1pPr>
            <a:lvl2pPr>
              <a:defRPr>
                <a:latin typeface="Fujitsu Sans 2020" panose="020B0404060202020204" pitchFamily="34" charset="0"/>
              </a:defRPr>
            </a:lvl2pPr>
            <a:lvl3pPr>
              <a:defRPr>
                <a:latin typeface="Fujitsu Sans 2020" panose="020B0404060202020204" pitchFamily="34" charset="0"/>
              </a:defRPr>
            </a:lvl3pPr>
            <a:lvl4pPr>
              <a:defRPr>
                <a:latin typeface="Fujitsu Sans 2020" panose="020B0404060202020204" pitchFamily="34" charset="0"/>
              </a:defRPr>
            </a:lvl4pPr>
            <a:lvl5pPr>
              <a:defRPr>
                <a:latin typeface="Fujitsu Sans 2020" panose="020B0404060202020204" pitchFamily="34" charset="0"/>
              </a:defRPr>
            </a:lvl5pPr>
          </a:lstStyle>
          <a:p>
            <a:pPr lvl="0"/>
            <a:r>
              <a:rPr lang="en-US" noProof="0" dirty="0"/>
              <a:t>Click to add bullet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</p:txBody>
      </p:sp>
    </p:spTree>
    <p:extLst>
      <p:ext uri="{BB962C8B-B14F-4D97-AF65-F5344CB8AC3E}">
        <p14:creationId xmlns:p14="http://schemas.microsoft.com/office/powerpoint/2010/main" val="1070732064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2572022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762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add title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1058863"/>
            <a:ext cx="8642350" cy="3744912"/>
          </a:xfrm>
          <a:prstGeom prst="rect">
            <a:avLst/>
          </a:prstGeom>
        </p:spPr>
        <p:txBody>
          <a:bodyPr lIns="0" tIns="0" rIns="0" bIns="0"/>
          <a:lstStyle>
            <a:lvl1pPr marL="269875" indent="-269875">
              <a:buClr>
                <a:srgbClr val="E60000"/>
              </a:buClr>
              <a:buFont typeface="Wingdings 2" panose="05020102010507070707" pitchFamily="18" charset="2"/>
              <a:buChar char="¾"/>
              <a:defRPr sz="2000"/>
            </a:lvl1pPr>
            <a:lvl2pPr marL="566738" indent="-231775">
              <a:buClr>
                <a:schemeClr val="tx1">
                  <a:lumMod val="50000"/>
                  <a:lumOff val="50000"/>
                </a:schemeClr>
              </a:buClr>
              <a:buFont typeface="Wingdings 2" panose="05020102010507070707" pitchFamily="18" charset="2"/>
              <a:buChar char="¾"/>
              <a:defRPr/>
            </a:lvl2pPr>
            <a:lvl3pPr marL="866775" indent="-230188">
              <a:buClr>
                <a:schemeClr val="bg1">
                  <a:lumMod val="65000"/>
                </a:schemeClr>
              </a:buClr>
              <a:buFont typeface="Wingdings 2" panose="05020102010507070707" pitchFamily="18" charset="2"/>
              <a:buChar char="¾"/>
              <a:defRPr/>
            </a:lvl3pPr>
            <a:lvl4pPr marL="1119188" indent="-201613">
              <a:buClr>
                <a:schemeClr val="bg1">
                  <a:lumMod val="75000"/>
                </a:schemeClr>
              </a:buClr>
              <a:buFont typeface="Wingdings 2" panose="05020102010507070707" pitchFamily="18" charset="2"/>
              <a:buChar char="¾"/>
              <a:tabLst/>
              <a:defRPr/>
            </a:lvl4pPr>
            <a:lvl5pPr marL="1309688" indent="-182563">
              <a:buClr>
                <a:schemeClr val="bg1">
                  <a:lumMod val="75000"/>
                </a:schemeClr>
              </a:buClr>
              <a:buFont typeface="Wingdings 2" panose="05020102010507070707" pitchFamily="18" charset="2"/>
              <a:buChar char="¾"/>
              <a:defRPr/>
            </a:lvl5pPr>
          </a:lstStyle>
          <a:p>
            <a:pPr lvl="0"/>
            <a:r>
              <a:rPr lang="de-DE" dirty="0"/>
              <a:t>Bullets level 1</a:t>
            </a:r>
          </a:p>
          <a:p>
            <a:pPr lvl="1"/>
            <a:r>
              <a:rPr lang="de-DE" dirty="0"/>
              <a:t>Bullets level 2</a:t>
            </a:r>
          </a:p>
          <a:p>
            <a:pPr lvl="2"/>
            <a:r>
              <a:rPr lang="de-DE" dirty="0"/>
              <a:t>Bullets level 3</a:t>
            </a:r>
          </a:p>
          <a:p>
            <a:pPr lvl="3"/>
            <a:r>
              <a:rPr lang="de-DE" dirty="0"/>
              <a:t>Bullets level 4</a:t>
            </a:r>
          </a:p>
          <a:p>
            <a:pPr lvl="4"/>
            <a:r>
              <a:rPr lang="de-DE" dirty="0"/>
              <a:t>Bullets level 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7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534994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1058863"/>
            <a:ext cx="8642350" cy="374491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rgbClr val="E60000"/>
              </a:buClr>
              <a:defRPr sz="2000"/>
            </a:lvl1pPr>
          </a:lstStyle>
          <a:p>
            <a:pPr lvl="0"/>
            <a:r>
              <a:rPr lang="de-DE" dirty="0" smtClean="0"/>
              <a:t>Bullets level 1</a:t>
            </a:r>
          </a:p>
          <a:p>
            <a:pPr lvl="1"/>
            <a:r>
              <a:rPr lang="de-DE" dirty="0" smtClean="0"/>
              <a:t>Bullets level 2</a:t>
            </a:r>
          </a:p>
          <a:p>
            <a:pPr lvl="2"/>
            <a:r>
              <a:rPr lang="de-DE" dirty="0" smtClean="0"/>
              <a:t>Bullets level 3</a:t>
            </a:r>
          </a:p>
          <a:p>
            <a:pPr lvl="3"/>
            <a:r>
              <a:rPr lang="de-DE" dirty="0" smtClean="0"/>
              <a:t>Bullets level 4</a:t>
            </a:r>
          </a:p>
          <a:p>
            <a:pPr lvl="4"/>
            <a:r>
              <a:rPr lang="de-DE" dirty="0" smtClean="0"/>
              <a:t>Bullets level 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9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/>
          <p:cNvSpPr txBox="1"/>
          <p:nvPr userDrawn="1"/>
        </p:nvSpPr>
        <p:spPr bwMode="hidden">
          <a:xfrm>
            <a:off x="487680" y="396240"/>
            <a:ext cx="8116768" cy="41917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Fujitsu Sans 2020 Light" panose="020B0304060202020204" pitchFamily="34" charset="0"/>
              </a:rPr>
              <a:t>Fujitsu Sans Light – abcdefghijklmnopqrstuvwxyz ABCDEFGHIJKLMNOPQRSTUVWXYZ 0123456789</a:t>
            </a:r>
            <a:r>
              <a:rPr lang="en-US" sz="1600" baseline="0" dirty="0">
                <a:solidFill>
                  <a:schemeClr val="bg1"/>
                </a:solidFill>
                <a:latin typeface="Fujitsu Sans 2020 Light" panose="020B0304060202020204" pitchFamily="34" charset="0"/>
              </a:rPr>
              <a:t> ¬!”£$%^&amp;*()_+-=[]{};’#:@~,./&lt;&gt;?\| ©¨~¡¢¤¥¦§¨ª«»¬­®¯°±²³µ¶·¸¹º¼½¾¿ÀÁÂÃÄÅÇÈÆÉÊËÌÍÎÏÐÑÒÓÔÕÖ×ØÙÚÛÜÝÞßàáâãäåæçèéêëìíîïðñòóôõö÷øùúûüýþÿĐıŒœŠšŸŽžƒʼˆˇˉ˙˚˛˜˝·‑‒–—―‘’‚“”„†‡•…‰‹›‾⁄⁰⁴⁵⁶⁷⁸⁹₀₁₂₃₄₅₆₇₈₉€™</a:t>
            </a:r>
            <a:r>
              <a:rPr lang="el-GR" sz="1600" baseline="0" dirty="0">
                <a:solidFill>
                  <a:schemeClr val="bg1"/>
                </a:solidFill>
                <a:latin typeface="Fujitsu Sans 2020 Light" panose="020B0304060202020204" pitchFamily="34" charset="0"/>
              </a:rPr>
              <a:t>Ω→∂∆∏∑−√∞∫≈≠≤≥⋅■◊</a:t>
            </a:r>
            <a:r>
              <a:rPr lang="en-GB" sz="1600" baseline="0" dirty="0">
                <a:solidFill>
                  <a:schemeClr val="bg1"/>
                </a:solidFill>
                <a:latin typeface="Fujitsu Sans 2020 Light" panose="020B0304060202020204" pitchFamily="34" charset="0"/>
              </a:rPr>
              <a:t>ﬁﬂ</a:t>
            </a:r>
          </a:p>
          <a:p>
            <a:pPr marL="0" marR="0" indent="0" algn="l" defTabSz="651907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Fujitsu Sans 2020" panose="020B0404060202020204" pitchFamily="34" charset="0"/>
              </a:rPr>
              <a:t>Fujitsu Sans – abcdefghijklmnopqrstuvwxyz 0123456789</a:t>
            </a:r>
            <a:r>
              <a:rPr lang="en-US" sz="1600" baseline="0" dirty="0">
                <a:solidFill>
                  <a:schemeClr val="bg1"/>
                </a:solidFill>
                <a:latin typeface="Fujitsu Sans 2020" panose="020B0404060202020204" pitchFamily="34" charset="0"/>
              </a:rPr>
              <a:t> ¬!”£$%^&amp;*()_+-=[]{};’#:@~,./&lt;&gt;?\| ©¨~¡¢¤¥¦§¨ª«»¬­®¯°±²³µ¶·¸¹º¼½¾¿ÀÁÂÃÄÅÇÈÆÉÊËÌÍÎÏÐÑÒÓÔÕÖ×ØÙÚÛÜÝÞßàáâãäåæçèéêëìíîïðñòóôõö÷øùúûüýþÿĐıŒœŠšŸŽžƒʼˆˇˉ˙˚˛˜˝·‑‒–—―‘’‚“”„†‡•…‰‹›‾⁄⁰⁴⁵⁶⁷⁸⁹₀₁₂₃₄₅₆₇₈₉€™</a:t>
            </a:r>
            <a:r>
              <a:rPr lang="el-GR" sz="1600" baseline="0" dirty="0">
                <a:solidFill>
                  <a:schemeClr val="bg1"/>
                </a:solidFill>
                <a:latin typeface="Fujitsu Sans 2020" panose="020B0404060202020204" pitchFamily="34" charset="0"/>
              </a:rPr>
              <a:t>Ω→∂∆∏∑−√∞∫≈≠≤≥⋅■◊</a:t>
            </a:r>
            <a:r>
              <a:rPr lang="en-GB" sz="1600" baseline="0" dirty="0">
                <a:solidFill>
                  <a:schemeClr val="bg1"/>
                </a:solidFill>
                <a:latin typeface="Fujitsu Sans 2020" panose="020B0404060202020204" pitchFamily="34" charset="0"/>
              </a:rPr>
              <a:t>ﬁﬂ</a:t>
            </a:r>
          </a:p>
          <a:p>
            <a:pPr marL="0" marR="0" indent="0" algn="l" defTabSz="651907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Fujitsu Sans 2020 Medium" panose="020B0504060202020204" pitchFamily="34" charset="0"/>
              </a:rPr>
              <a:t>Fujitsu Sans Medium – abcdefghijklmnopqrstuvwxyz 0123456789</a:t>
            </a:r>
            <a:r>
              <a:rPr lang="en-US" sz="1600" baseline="0" dirty="0">
                <a:solidFill>
                  <a:schemeClr val="bg1"/>
                </a:solidFill>
                <a:latin typeface="Fujitsu Sans 2020 Medium" panose="020B0504060202020204" pitchFamily="34" charset="0"/>
              </a:rPr>
              <a:t> ¬!”£$%^&amp;*()_+-=[]{};’#:@~,./&lt;&gt;?\| ©¨~¡¢¤¥¦§¨ª«»¬­®¯°±²³µ¶·¸¹º¼½¾¿ÀÁÂÃÄÅÇÈÆÉÊËÌÍÎÏÐÑÒÓÔÕÖ×ØÙÚÛÜÝÞßàáâãäåæçèéêëìíîïðñòóôõö÷øùúûüýþÿĐıŒœŠšŸŽžƒʼˆˇˉ˙˚˛˜˝·‑‒–—―‘’‚“”„†‡•…‰‹›‾⁄⁰⁴⁵⁶⁷⁸⁹₀₁₂₃₄₅₆₇₈₉€™</a:t>
            </a:r>
            <a:r>
              <a:rPr lang="el-GR" sz="1600" baseline="0" dirty="0">
                <a:solidFill>
                  <a:schemeClr val="bg1"/>
                </a:solidFill>
                <a:latin typeface="Fujitsu Sans 2020 Medium" panose="020B0504060202020204" pitchFamily="34" charset="0"/>
              </a:rPr>
              <a:t>Ω→∂∆∏∑−√∞∫≈≠≤≥⋅■◊</a:t>
            </a:r>
            <a:r>
              <a:rPr lang="en-GB" sz="1600" baseline="0" dirty="0">
                <a:solidFill>
                  <a:schemeClr val="bg1"/>
                </a:solidFill>
                <a:latin typeface="Fujitsu Sans 2020 Medium" panose="020B0504060202020204" pitchFamily="34" charset="0"/>
              </a:rPr>
              <a:t>ﬁﬂ</a:t>
            </a:r>
            <a:endParaRPr lang="en-US" sz="1600" dirty="0">
              <a:solidFill>
                <a:schemeClr val="bg1"/>
              </a:solidFill>
              <a:latin typeface="Fujitsu Sans 2020 Medium" panose="020B0504060202020204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 dirty="0">
              <a:latin typeface="Fujitsu Sans 2020" panose="020B0404060202020204" pitchFamily="34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280" y="895336"/>
            <a:ext cx="4663441" cy="271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87540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ujitsu Sans 2020" panose="020B040406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noProof="0" dirty="0">
              <a:solidFill>
                <a:schemeClr val="tx1"/>
              </a:solidFill>
              <a:latin typeface="Fujitsu Sans 2020" panose="020B0404060202020204" pitchFamily="34" charset="0"/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 hasCustomPrompt="1"/>
          </p:nvPr>
        </p:nvSpPr>
        <p:spPr bwMode="gray">
          <a:xfrm>
            <a:off x="250825" y="2632621"/>
            <a:ext cx="8642356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Fujitsu Sans 2020" panose="020B0404060202020204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add presentation title</a:t>
            </a:r>
          </a:p>
        </p:txBody>
      </p:sp>
      <p:sp>
        <p:nvSpPr>
          <p:cNvPr id="5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0250" y="2179204"/>
            <a:ext cx="8642926" cy="32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Fujitsu Sans 2020" panose="020B0404060202020204" pitchFamily="34" charset="0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add presentation </a:t>
            </a:r>
            <a:r>
              <a:rPr lang="en-US" noProof="0" dirty="0" err="1"/>
              <a:t>over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0250" y="3435868"/>
            <a:ext cx="8482263" cy="3525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baseline="0">
                <a:latin typeface="Fujitsu Sans 2020" panose="020B0404060202020204" pitchFamily="34" charset="0"/>
              </a:defRPr>
            </a:lvl1pPr>
          </a:lstStyle>
          <a:p>
            <a:pPr lvl="0"/>
            <a:r>
              <a:rPr lang="en-US" dirty="0"/>
              <a:t>Click to add presentation subtitle / presenter / date</a:t>
            </a:r>
          </a:p>
        </p:txBody>
      </p:sp>
    </p:spTree>
    <p:extLst>
      <p:ext uri="{BB962C8B-B14F-4D97-AF65-F5344CB8AC3E}">
        <p14:creationId xmlns:p14="http://schemas.microsoft.com/office/powerpoint/2010/main" val="54375136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450" y="411450"/>
            <a:ext cx="2664370" cy="13681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450" y="2427730"/>
            <a:ext cx="2744079" cy="72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Fujitsu Sans"/>
                <a:ea typeface="+mn-ea"/>
                <a:cs typeface="Fujitsu San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185" y="243040"/>
            <a:ext cx="1252800" cy="626179"/>
          </a:xfrm>
          <a:prstGeom prst="rect">
            <a:avLst/>
          </a:prstGeom>
          <a:noFill/>
        </p:spPr>
      </p:pic>
      <p:sp>
        <p:nvSpPr>
          <p:cNvPr id="14" name="Title 47"/>
          <p:cNvSpPr txBox="1">
            <a:spLocks/>
          </p:cNvSpPr>
          <p:nvPr userDrawn="1"/>
        </p:nvSpPr>
        <p:spPr bwMode="gray">
          <a:xfrm>
            <a:off x="4608640" y="1553026"/>
            <a:ext cx="4572000" cy="1378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sz="2700" dirty="0">
                <a:solidFill>
                  <a:srgbClr val="FFFFFF"/>
                </a:solidFill>
              </a:rPr>
              <a:t>Human </a:t>
            </a:r>
            <a:r>
              <a:rPr lang="de-DE" sz="2700" dirty="0" err="1">
                <a:solidFill>
                  <a:srgbClr val="FFFFFF"/>
                </a:solidFill>
              </a:rPr>
              <a:t>Centric</a:t>
            </a:r>
            <a:r>
              <a:rPr lang="de-DE" sz="2700" dirty="0">
                <a:solidFill>
                  <a:srgbClr val="FFFFFF"/>
                </a:solidFill>
              </a:rPr>
              <a:t> Innovation</a:t>
            </a:r>
          </a:p>
          <a:p>
            <a:pPr>
              <a:lnSpc>
                <a:spcPct val="110000"/>
              </a:lnSpc>
            </a:pPr>
            <a:r>
              <a:rPr lang="de-DE" sz="3200" dirty="0">
                <a:solidFill>
                  <a:srgbClr val="FFFFFF"/>
                </a:solidFill>
              </a:rPr>
              <a:t>                          in Actio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88"/>
          <a:stretch/>
        </p:blipFill>
        <p:spPr>
          <a:xfrm>
            <a:off x="0" y="0"/>
            <a:ext cx="9144000" cy="516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276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heme" Target="../theme/them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5833343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ujitsu Sans 2020" panose="020B040406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0091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Fujitsu Sans 2020" panose="020B0404060202020204" pitchFamily="34" charset="0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kumimoji="0" lang="en-US" altLang="ja-JP" sz="800" kern="1200" noProof="0" dirty="0">
              <a:solidFill>
                <a:schemeClr val="tx1"/>
              </a:solidFill>
              <a:latin typeface="Fujitsu Sans 2020" panose="020B0404060202020204" pitchFamily="34" charset="0"/>
              <a:ea typeface="ＭＳ Ｐゴシック" charset="-128"/>
              <a:cs typeface="+mn-cs"/>
            </a:endParaRPr>
          </a:p>
        </p:txBody>
      </p:sp>
      <p:sp>
        <p:nvSpPr>
          <p:cNvPr id="23" name="Footer Placeholder 110"/>
          <p:cNvSpPr txBox="1">
            <a:spLocks/>
          </p:cNvSpPr>
          <p:nvPr userDrawn="1"/>
        </p:nvSpPr>
        <p:spPr>
          <a:xfrm>
            <a:off x="4932040" y="4933384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>
                <a:latin typeface="Fujitsu Sans 2020" panose="020B0404060202020204" pitchFamily="34" charset="0"/>
              </a:rPr>
              <a:t>© 2021 FUJITSU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605" y="112048"/>
            <a:ext cx="1133200" cy="704850"/>
          </a:xfrm>
          <a:prstGeom prst="rect">
            <a:avLst/>
          </a:prstGeom>
        </p:spPr>
      </p:pic>
      <p:sp>
        <p:nvSpPr>
          <p:cNvPr id="12" name="Line 4"/>
          <p:cNvSpPr>
            <a:spLocks noChangeShapeType="1"/>
          </p:cNvSpPr>
          <p:nvPr userDrawn="1"/>
        </p:nvSpPr>
        <p:spPr bwMode="gray">
          <a:xfrm>
            <a:off x="0" y="4918416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>
              <a:latin typeface="Fujitsu Sans 2020" panose="020B0404060202020204" pitchFamily="34" charset="0"/>
            </a:endParaRPr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5FCF951B-2896-4983-BFD0-E88EFB2383B9}"/>
              </a:ext>
            </a:extLst>
          </p:cNvPr>
          <p:cNvGrpSpPr/>
          <p:nvPr userDrawn="1"/>
        </p:nvGrpSpPr>
        <p:grpSpPr bwMode="black">
          <a:xfrm>
            <a:off x="257175" y="4961791"/>
            <a:ext cx="644525" cy="141161"/>
            <a:chOff x="1219189" y="6312097"/>
            <a:chExt cx="644525" cy="210711"/>
          </a:xfrm>
        </p:grpSpPr>
        <p:sp>
          <p:nvSpPr>
            <p:cNvPr id="14" name="Rounded Rectangle 21">
              <a:extLst>
                <a:ext uri="{FF2B5EF4-FFF2-40B4-BE49-F238E27FC236}">
                  <a16:creationId xmlns:a16="http://schemas.microsoft.com/office/drawing/2014/main" id="{221777F0-3680-4198-9098-0045138288A4}"/>
                </a:ext>
              </a:extLst>
            </p:cNvPr>
            <p:cNvSpPr/>
            <p:nvPr userDrawn="1"/>
          </p:nvSpPr>
          <p:spPr bwMode="black">
            <a:xfrm>
              <a:off x="1219189" y="6312097"/>
              <a:ext cx="644525" cy="210711"/>
            </a:xfrm>
            <a:prstGeom prst="roundRect">
              <a:avLst>
                <a:gd name="adj" fmla="val 50000"/>
              </a:avLst>
            </a:prstGeom>
            <a:noFill/>
            <a:ln w="6350" cap="flat" cmpd="sng" algn="ctr">
              <a:solidFill>
                <a:srgbClr val="E6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980" b="0" i="0" u="none" strike="noStrike" cap="none" normalizeH="0" baseline="0" dirty="0">
                <a:ln>
                  <a:noFill/>
                </a:ln>
                <a:solidFill>
                  <a:srgbClr val="E60000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Rectangle 22">
              <a:extLst>
                <a:ext uri="{FF2B5EF4-FFF2-40B4-BE49-F238E27FC236}">
                  <a16:creationId xmlns:a16="http://schemas.microsoft.com/office/drawing/2014/main" id="{CBED732B-AEBC-45CB-8E8F-9C007D3CDB1F}"/>
                </a:ext>
              </a:extLst>
            </p:cNvPr>
            <p:cNvSpPr/>
            <p:nvPr userDrawn="1"/>
          </p:nvSpPr>
          <p:spPr bwMode="black">
            <a:xfrm>
              <a:off x="1243066" y="6322125"/>
              <a:ext cx="582548" cy="179903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marL="0" marR="0" lvl="0" indent="0" algn="ctr" defTabSz="1218673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ja-JP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E60000"/>
                  </a:solidFill>
                  <a:effectLst/>
                  <a:uLnTx/>
                  <a:uFillTx/>
                  <a:latin typeface="Fujitsu Sans 2020 Medium" panose="020B0504060202020204" pitchFamily="34" charset="0"/>
                  <a:ea typeface="+mn-ea"/>
                  <a:cs typeface="+mn-cs"/>
                </a:rPr>
                <a:t>Unclassified</a:t>
              </a:r>
              <a:endParaRPr kumimoji="1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E60000"/>
                </a:solidFill>
                <a:effectLst/>
                <a:uLnTx/>
                <a:uFillTx/>
                <a:latin typeface="Fujitsu Sans 2020 Medium" panose="020B050406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150004"/>
            <a:ext cx="1704511" cy="6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517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7" r:id="rId2"/>
    <p:sldLayoutId id="2147483706" r:id="rId3"/>
    <p:sldLayoutId id="2147483707" r:id="rId4"/>
    <p:sldLayoutId id="2147483710" r:id="rId5"/>
    <p:sldLayoutId id="2147483721" r:id="rId6"/>
    <p:sldLayoutId id="2147483722" r:id="rId7"/>
  </p:sldLayoutIdLst>
  <p:transition spd="med"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Fujitsu Sans 2020" panose="020B0404060202020204" pitchFamily="34" charset="0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"/>
        <a:defRPr lang="en-GB" sz="2000" b="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>
            <p:custDataLst>
              <p:tags r:id="rId4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ujitsu Sans 2020" panose="020B0404060202020204" pitchFamily="34" charset="0"/>
            </a:endParaRPr>
          </a:p>
        </p:txBody>
      </p:sp>
      <p:grpSp>
        <p:nvGrpSpPr>
          <p:cNvPr id="110" name="Group 109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Fujitsu Sans 2020" panose="020B0404060202020204" pitchFamily="34" charset="0"/>
              </a:endParaRPr>
            </a:p>
          </p:txBody>
        </p:sp>
      </p:grpSp>
      <p:sp>
        <p:nvSpPr>
          <p:cNvPr id="19" name="Line 4"/>
          <p:cNvSpPr>
            <a:spLocks noChangeShapeType="1"/>
          </p:cNvSpPr>
          <p:nvPr userDrawn="1"/>
        </p:nvSpPr>
        <p:spPr bwMode="gray">
          <a:xfrm>
            <a:off x="0" y="4918416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>
              <a:latin typeface="Fujitsu Sans 2020" panose="020B0404060202020204" pitchFamily="34" charset="0"/>
            </a:endParaRPr>
          </a:p>
        </p:txBody>
      </p:sp>
      <p:sp>
        <p:nvSpPr>
          <p:cNvPr id="23" name="Footer Placeholder 110"/>
          <p:cNvSpPr txBox="1">
            <a:spLocks/>
          </p:cNvSpPr>
          <p:nvPr userDrawn="1"/>
        </p:nvSpPr>
        <p:spPr>
          <a:xfrm>
            <a:off x="4932040" y="4933384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>
                <a:latin typeface="Fujitsu Sans 2020" panose="020B0404060202020204" pitchFamily="34" charset="0"/>
              </a:rPr>
              <a:t>© 2021 FUJITSU</a:t>
            </a:r>
          </a:p>
        </p:txBody>
      </p:sp>
      <p:pic>
        <p:nvPicPr>
          <p:cNvPr id="29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lt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65" name="Group 64"/>
          <p:cNvGrpSpPr/>
          <p:nvPr userDrawn="1"/>
        </p:nvGrpSpPr>
        <p:grpSpPr>
          <a:xfrm>
            <a:off x="7602220" y="111697"/>
            <a:ext cx="1420710" cy="797868"/>
            <a:chOff x="6715531" y="659835"/>
            <a:chExt cx="2010293" cy="1128977"/>
          </a:xfrm>
        </p:grpSpPr>
        <p:pic>
          <p:nvPicPr>
            <p:cNvPr id="66" name="Picture 65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1295" y="659835"/>
              <a:ext cx="1604529" cy="998017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715531" y="1535932"/>
              <a:ext cx="1918336" cy="25288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92D608E-E478-49CB-BACA-447F08FD22DA}"/>
              </a:ext>
            </a:extLst>
          </p:cNvPr>
          <p:cNvGrpSpPr/>
          <p:nvPr userDrawn="1"/>
        </p:nvGrpSpPr>
        <p:grpSpPr bwMode="black">
          <a:xfrm>
            <a:off x="257175" y="4961791"/>
            <a:ext cx="1746250" cy="141161"/>
            <a:chOff x="1219189" y="6312097"/>
            <a:chExt cx="1623442" cy="210711"/>
          </a:xfrm>
        </p:grpSpPr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2F47EA2D-7BFA-4455-AC1D-0A3B40265122}"/>
                </a:ext>
              </a:extLst>
            </p:cNvPr>
            <p:cNvSpPr/>
            <p:nvPr userDrawn="1"/>
          </p:nvSpPr>
          <p:spPr bwMode="black">
            <a:xfrm>
              <a:off x="1219189" y="6312097"/>
              <a:ext cx="1623442" cy="210711"/>
            </a:xfrm>
            <a:prstGeom prst="roundRect">
              <a:avLst>
                <a:gd name="adj" fmla="val 50000"/>
              </a:avLst>
            </a:prstGeom>
            <a:noFill/>
            <a:ln w="6350" cap="flat" cmpd="sng" algn="ctr">
              <a:solidFill>
                <a:srgbClr val="E6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980" b="0" i="0" u="none" strike="noStrike" cap="none" normalizeH="0" baseline="0" dirty="0">
                <a:ln>
                  <a:noFill/>
                </a:ln>
                <a:solidFill>
                  <a:srgbClr val="E60000"/>
                </a:solidFill>
                <a:effectLst/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7C681952-A014-460D-9FED-0A934974D03B}"/>
                </a:ext>
              </a:extLst>
            </p:cNvPr>
            <p:cNvSpPr/>
            <p:nvPr userDrawn="1"/>
          </p:nvSpPr>
          <p:spPr bwMode="black">
            <a:xfrm>
              <a:off x="1243066" y="6322125"/>
              <a:ext cx="1580768" cy="179903"/>
            </a:xfrm>
            <a:prstGeom prst="rect">
              <a:avLst/>
            </a:prstGeom>
          </p:spPr>
          <p:txBody>
            <a:bodyPr wrap="square" lIns="0" tIns="0" rIns="0" bIns="0" anchor="b">
              <a:noAutofit/>
            </a:bodyPr>
            <a:lstStyle/>
            <a:p>
              <a:pPr marL="0" marR="0" lvl="0" indent="0" algn="ctr" defTabSz="1218673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ja-JP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E60000"/>
                  </a:solidFill>
                  <a:effectLst/>
                  <a:uLnTx/>
                  <a:uFillTx/>
                  <a:latin typeface="Fujitsu Sans 2020 Medium" panose="020B0504060202020204" pitchFamily="34" charset="0"/>
                  <a:ea typeface="+mn-ea"/>
                  <a:cs typeface="+mn-cs"/>
                </a:rPr>
                <a:t>Fujitsu Restricted – Internal Use Only</a:t>
              </a:r>
              <a:endParaRPr kumimoji="1" lang="en-US" altLang="ja-JP" sz="750" b="0" i="0" u="none" strike="noStrike" kern="1200" cap="none" spc="0" normalizeH="0" baseline="0" noProof="0" dirty="0">
                <a:ln>
                  <a:noFill/>
                </a:ln>
                <a:solidFill>
                  <a:srgbClr val="E60000"/>
                </a:solidFill>
                <a:effectLst/>
                <a:uLnTx/>
                <a:uFillTx/>
                <a:latin typeface="Fujitsu Sans 2020 Medium" panose="020B050406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7642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</p:sldLayoutIdLst>
  <p:transition spd="med"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linkedin.com/groups/8934365" TargetMode="Externa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Florian.Frimmel@fujitsu.com" TargetMode="External"/><Relationship Id="rId4" Type="http://schemas.openxmlformats.org/officeDocument/2006/relationships/hyperlink" Target="mailto:Heiko.Jung@fujitsu.com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18.pn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17.jpe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6.jp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slideLayout" Target="../slideLayouts/slideLayout3.xml"/><Relationship Id="rId27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image" Target="../media/image20.emf"/><Relationship Id="rId47" Type="http://schemas.openxmlformats.org/officeDocument/2006/relationships/image" Target="../media/image25.jpeg"/><Relationship Id="rId50" Type="http://schemas.openxmlformats.org/officeDocument/2006/relationships/image" Target="../media/image28.png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notesSlide" Target="../notesSlides/notesSlide3.xml"/><Relationship Id="rId45" Type="http://schemas.openxmlformats.org/officeDocument/2006/relationships/image" Target="../media/image23.jpe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image" Target="../media/image27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4" Type="http://schemas.openxmlformats.org/officeDocument/2006/relationships/image" Target="../media/image22.jpe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image" Target="../media/image21.jpeg"/><Relationship Id="rId48" Type="http://schemas.openxmlformats.org/officeDocument/2006/relationships/image" Target="../media/image26.png"/><Relationship Id="rId8" Type="http://schemas.openxmlformats.org/officeDocument/2006/relationships/tags" Target="../tags/tag35.xml"/><Relationship Id="rId51" Type="http://schemas.openxmlformats.org/officeDocument/2006/relationships/image" Target="../media/image29.gif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image" Target="../media/image24.jpeg"/><Relationship Id="rId20" Type="http://schemas.openxmlformats.org/officeDocument/2006/relationships/tags" Target="../tags/tag47.xml"/><Relationship Id="rId41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90.xml"/><Relationship Id="rId21" Type="http://schemas.openxmlformats.org/officeDocument/2006/relationships/tags" Target="../tags/tag85.xml"/><Relationship Id="rId42" Type="http://schemas.openxmlformats.org/officeDocument/2006/relationships/tags" Target="../tags/tag106.xml"/><Relationship Id="rId47" Type="http://schemas.openxmlformats.org/officeDocument/2006/relationships/tags" Target="../tags/tag111.xml"/><Relationship Id="rId63" Type="http://schemas.openxmlformats.org/officeDocument/2006/relationships/tags" Target="../tags/tag127.xml"/><Relationship Id="rId68" Type="http://schemas.openxmlformats.org/officeDocument/2006/relationships/tags" Target="../tags/tag132.xml"/><Relationship Id="rId84" Type="http://schemas.openxmlformats.org/officeDocument/2006/relationships/image" Target="../media/image20.emf"/><Relationship Id="rId16" Type="http://schemas.openxmlformats.org/officeDocument/2006/relationships/tags" Target="../tags/tag80.xml"/><Relationship Id="rId11" Type="http://schemas.openxmlformats.org/officeDocument/2006/relationships/tags" Target="../tags/tag75.xml"/><Relationship Id="rId32" Type="http://schemas.openxmlformats.org/officeDocument/2006/relationships/tags" Target="../tags/tag96.xml"/><Relationship Id="rId37" Type="http://schemas.openxmlformats.org/officeDocument/2006/relationships/tags" Target="../tags/tag101.xml"/><Relationship Id="rId53" Type="http://schemas.openxmlformats.org/officeDocument/2006/relationships/tags" Target="../tags/tag117.xml"/><Relationship Id="rId58" Type="http://schemas.openxmlformats.org/officeDocument/2006/relationships/tags" Target="../tags/tag122.xml"/><Relationship Id="rId74" Type="http://schemas.openxmlformats.org/officeDocument/2006/relationships/tags" Target="../tags/tag138.xml"/><Relationship Id="rId79" Type="http://schemas.openxmlformats.org/officeDocument/2006/relationships/tags" Target="../tags/tag143.xml"/><Relationship Id="rId5" Type="http://schemas.openxmlformats.org/officeDocument/2006/relationships/tags" Target="../tags/tag69.xml"/><Relationship Id="rId19" Type="http://schemas.openxmlformats.org/officeDocument/2006/relationships/tags" Target="../tags/tag8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Relationship Id="rId35" Type="http://schemas.openxmlformats.org/officeDocument/2006/relationships/tags" Target="../tags/tag99.xml"/><Relationship Id="rId43" Type="http://schemas.openxmlformats.org/officeDocument/2006/relationships/tags" Target="../tags/tag107.xml"/><Relationship Id="rId48" Type="http://schemas.openxmlformats.org/officeDocument/2006/relationships/tags" Target="../tags/tag112.xml"/><Relationship Id="rId56" Type="http://schemas.openxmlformats.org/officeDocument/2006/relationships/tags" Target="../tags/tag120.xml"/><Relationship Id="rId64" Type="http://schemas.openxmlformats.org/officeDocument/2006/relationships/tags" Target="../tags/tag128.xml"/><Relationship Id="rId69" Type="http://schemas.openxmlformats.org/officeDocument/2006/relationships/tags" Target="../tags/tag133.xml"/><Relationship Id="rId77" Type="http://schemas.openxmlformats.org/officeDocument/2006/relationships/tags" Target="../tags/tag141.xml"/><Relationship Id="rId8" Type="http://schemas.openxmlformats.org/officeDocument/2006/relationships/tags" Target="../tags/tag72.xml"/><Relationship Id="rId51" Type="http://schemas.openxmlformats.org/officeDocument/2006/relationships/tags" Target="../tags/tag115.xml"/><Relationship Id="rId72" Type="http://schemas.openxmlformats.org/officeDocument/2006/relationships/tags" Target="../tags/tag136.xml"/><Relationship Id="rId80" Type="http://schemas.openxmlformats.org/officeDocument/2006/relationships/tags" Target="../tags/tag144.xml"/><Relationship Id="rId85" Type="http://schemas.openxmlformats.org/officeDocument/2006/relationships/image" Target="../media/image31.png"/><Relationship Id="rId3" Type="http://schemas.openxmlformats.org/officeDocument/2006/relationships/tags" Target="../tags/tag67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tags" Target="../tags/tag97.xml"/><Relationship Id="rId38" Type="http://schemas.openxmlformats.org/officeDocument/2006/relationships/tags" Target="../tags/tag102.xml"/><Relationship Id="rId46" Type="http://schemas.openxmlformats.org/officeDocument/2006/relationships/tags" Target="../tags/tag110.xml"/><Relationship Id="rId59" Type="http://schemas.openxmlformats.org/officeDocument/2006/relationships/tags" Target="../tags/tag123.xml"/><Relationship Id="rId67" Type="http://schemas.openxmlformats.org/officeDocument/2006/relationships/tags" Target="../tags/tag131.xml"/><Relationship Id="rId20" Type="http://schemas.openxmlformats.org/officeDocument/2006/relationships/tags" Target="../tags/tag84.xml"/><Relationship Id="rId41" Type="http://schemas.openxmlformats.org/officeDocument/2006/relationships/tags" Target="../tags/tag105.xml"/><Relationship Id="rId54" Type="http://schemas.openxmlformats.org/officeDocument/2006/relationships/tags" Target="../tags/tag118.xml"/><Relationship Id="rId62" Type="http://schemas.openxmlformats.org/officeDocument/2006/relationships/tags" Target="../tags/tag126.xml"/><Relationship Id="rId70" Type="http://schemas.openxmlformats.org/officeDocument/2006/relationships/tags" Target="../tags/tag134.xml"/><Relationship Id="rId75" Type="http://schemas.openxmlformats.org/officeDocument/2006/relationships/tags" Target="../tags/tag139.xml"/><Relationship Id="rId83" Type="http://schemas.openxmlformats.org/officeDocument/2006/relationships/oleObject" Target="../embeddings/oleObject2.bin"/><Relationship Id="rId88" Type="http://schemas.openxmlformats.org/officeDocument/2006/relationships/image" Target="../media/image34.png"/><Relationship Id="rId1" Type="http://schemas.openxmlformats.org/officeDocument/2006/relationships/vmlDrawing" Target="../drawings/vmlDrawing2.vml"/><Relationship Id="rId6" Type="http://schemas.openxmlformats.org/officeDocument/2006/relationships/tags" Target="../tags/tag70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tags" Target="../tags/tag100.xml"/><Relationship Id="rId49" Type="http://schemas.openxmlformats.org/officeDocument/2006/relationships/tags" Target="../tags/tag113.xml"/><Relationship Id="rId57" Type="http://schemas.openxmlformats.org/officeDocument/2006/relationships/tags" Target="../tags/tag121.xml"/><Relationship Id="rId10" Type="http://schemas.openxmlformats.org/officeDocument/2006/relationships/tags" Target="../tags/tag74.xml"/><Relationship Id="rId31" Type="http://schemas.openxmlformats.org/officeDocument/2006/relationships/tags" Target="../tags/tag95.xml"/><Relationship Id="rId44" Type="http://schemas.openxmlformats.org/officeDocument/2006/relationships/tags" Target="../tags/tag108.xml"/><Relationship Id="rId52" Type="http://schemas.openxmlformats.org/officeDocument/2006/relationships/tags" Target="../tags/tag116.xml"/><Relationship Id="rId60" Type="http://schemas.openxmlformats.org/officeDocument/2006/relationships/tags" Target="../tags/tag124.xml"/><Relationship Id="rId65" Type="http://schemas.openxmlformats.org/officeDocument/2006/relationships/tags" Target="../tags/tag129.xml"/><Relationship Id="rId73" Type="http://schemas.openxmlformats.org/officeDocument/2006/relationships/tags" Target="../tags/tag137.xml"/><Relationship Id="rId78" Type="http://schemas.openxmlformats.org/officeDocument/2006/relationships/tags" Target="../tags/tag142.xml"/><Relationship Id="rId81" Type="http://schemas.openxmlformats.org/officeDocument/2006/relationships/slideLayout" Target="../slideLayouts/slideLayout3.xml"/><Relationship Id="rId86" Type="http://schemas.openxmlformats.org/officeDocument/2006/relationships/image" Target="../media/image32.png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9" Type="http://schemas.openxmlformats.org/officeDocument/2006/relationships/tags" Target="../tags/tag103.xml"/><Relationship Id="rId34" Type="http://schemas.openxmlformats.org/officeDocument/2006/relationships/tags" Target="../tags/tag98.xml"/><Relationship Id="rId50" Type="http://schemas.openxmlformats.org/officeDocument/2006/relationships/tags" Target="../tags/tag114.xml"/><Relationship Id="rId55" Type="http://schemas.openxmlformats.org/officeDocument/2006/relationships/tags" Target="../tags/tag119.xml"/><Relationship Id="rId76" Type="http://schemas.openxmlformats.org/officeDocument/2006/relationships/tags" Target="../tags/tag140.xml"/><Relationship Id="rId7" Type="http://schemas.openxmlformats.org/officeDocument/2006/relationships/tags" Target="../tags/tag71.xml"/><Relationship Id="rId71" Type="http://schemas.openxmlformats.org/officeDocument/2006/relationships/tags" Target="../tags/tag135.xml"/><Relationship Id="rId2" Type="http://schemas.openxmlformats.org/officeDocument/2006/relationships/tags" Target="../tags/tag66.xml"/><Relationship Id="rId29" Type="http://schemas.openxmlformats.org/officeDocument/2006/relationships/tags" Target="../tags/tag93.xml"/><Relationship Id="rId24" Type="http://schemas.openxmlformats.org/officeDocument/2006/relationships/tags" Target="../tags/tag88.xml"/><Relationship Id="rId40" Type="http://schemas.openxmlformats.org/officeDocument/2006/relationships/tags" Target="../tags/tag104.xml"/><Relationship Id="rId45" Type="http://schemas.openxmlformats.org/officeDocument/2006/relationships/tags" Target="../tags/tag109.xml"/><Relationship Id="rId66" Type="http://schemas.openxmlformats.org/officeDocument/2006/relationships/tags" Target="../tags/tag130.xml"/><Relationship Id="rId87" Type="http://schemas.openxmlformats.org/officeDocument/2006/relationships/image" Target="../media/image33.png"/><Relationship Id="rId61" Type="http://schemas.openxmlformats.org/officeDocument/2006/relationships/tags" Target="../tags/tag125.xml"/><Relationship Id="rId8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69.xml"/><Relationship Id="rId21" Type="http://schemas.openxmlformats.org/officeDocument/2006/relationships/tags" Target="../tags/tag164.xml"/><Relationship Id="rId42" Type="http://schemas.openxmlformats.org/officeDocument/2006/relationships/tags" Target="../tags/tag185.xml"/><Relationship Id="rId47" Type="http://schemas.openxmlformats.org/officeDocument/2006/relationships/tags" Target="../tags/tag190.xml"/><Relationship Id="rId63" Type="http://schemas.openxmlformats.org/officeDocument/2006/relationships/tags" Target="../tags/tag206.xml"/><Relationship Id="rId68" Type="http://schemas.openxmlformats.org/officeDocument/2006/relationships/tags" Target="../tags/tag211.xml"/><Relationship Id="rId16" Type="http://schemas.openxmlformats.org/officeDocument/2006/relationships/tags" Target="../tags/tag159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32" Type="http://schemas.openxmlformats.org/officeDocument/2006/relationships/tags" Target="../tags/tag175.xml"/><Relationship Id="rId37" Type="http://schemas.openxmlformats.org/officeDocument/2006/relationships/tags" Target="../tags/tag180.xml"/><Relationship Id="rId40" Type="http://schemas.openxmlformats.org/officeDocument/2006/relationships/tags" Target="../tags/tag183.xml"/><Relationship Id="rId45" Type="http://schemas.openxmlformats.org/officeDocument/2006/relationships/tags" Target="../tags/tag188.xml"/><Relationship Id="rId53" Type="http://schemas.openxmlformats.org/officeDocument/2006/relationships/tags" Target="../tags/tag196.xml"/><Relationship Id="rId58" Type="http://schemas.openxmlformats.org/officeDocument/2006/relationships/tags" Target="../tags/tag201.xml"/><Relationship Id="rId66" Type="http://schemas.openxmlformats.org/officeDocument/2006/relationships/tags" Target="../tags/tag209.xml"/><Relationship Id="rId74" Type="http://schemas.openxmlformats.org/officeDocument/2006/relationships/image" Target="../media/image36.png"/><Relationship Id="rId5" Type="http://schemas.openxmlformats.org/officeDocument/2006/relationships/tags" Target="../tags/tag148.xml"/><Relationship Id="rId61" Type="http://schemas.openxmlformats.org/officeDocument/2006/relationships/tags" Target="../tags/tag204.xml"/><Relationship Id="rId19" Type="http://schemas.openxmlformats.org/officeDocument/2006/relationships/tags" Target="../tags/tag16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tags" Target="../tags/tag173.xml"/><Relationship Id="rId35" Type="http://schemas.openxmlformats.org/officeDocument/2006/relationships/tags" Target="../tags/tag178.xml"/><Relationship Id="rId43" Type="http://schemas.openxmlformats.org/officeDocument/2006/relationships/tags" Target="../tags/tag186.xml"/><Relationship Id="rId48" Type="http://schemas.openxmlformats.org/officeDocument/2006/relationships/tags" Target="../tags/tag191.xml"/><Relationship Id="rId56" Type="http://schemas.openxmlformats.org/officeDocument/2006/relationships/tags" Target="../tags/tag199.xml"/><Relationship Id="rId64" Type="http://schemas.openxmlformats.org/officeDocument/2006/relationships/tags" Target="../tags/tag207.xml"/><Relationship Id="rId69" Type="http://schemas.openxmlformats.org/officeDocument/2006/relationships/slideLayout" Target="../slideLayouts/slideLayout3.xml"/><Relationship Id="rId77" Type="http://schemas.openxmlformats.org/officeDocument/2006/relationships/image" Target="../media/image39.png"/><Relationship Id="rId8" Type="http://schemas.openxmlformats.org/officeDocument/2006/relationships/tags" Target="../tags/tag151.xml"/><Relationship Id="rId51" Type="http://schemas.openxmlformats.org/officeDocument/2006/relationships/tags" Target="../tags/tag194.xml"/><Relationship Id="rId72" Type="http://schemas.openxmlformats.org/officeDocument/2006/relationships/image" Target="../media/image20.emf"/><Relationship Id="rId3" Type="http://schemas.openxmlformats.org/officeDocument/2006/relationships/tags" Target="../tags/tag146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33" Type="http://schemas.openxmlformats.org/officeDocument/2006/relationships/tags" Target="../tags/tag176.xml"/><Relationship Id="rId38" Type="http://schemas.openxmlformats.org/officeDocument/2006/relationships/tags" Target="../tags/tag181.xml"/><Relationship Id="rId46" Type="http://schemas.openxmlformats.org/officeDocument/2006/relationships/tags" Target="../tags/tag189.xml"/><Relationship Id="rId59" Type="http://schemas.openxmlformats.org/officeDocument/2006/relationships/tags" Target="../tags/tag202.xml"/><Relationship Id="rId67" Type="http://schemas.openxmlformats.org/officeDocument/2006/relationships/tags" Target="../tags/tag210.xml"/><Relationship Id="rId20" Type="http://schemas.openxmlformats.org/officeDocument/2006/relationships/tags" Target="../tags/tag163.xml"/><Relationship Id="rId41" Type="http://schemas.openxmlformats.org/officeDocument/2006/relationships/tags" Target="../tags/tag184.xml"/><Relationship Id="rId54" Type="http://schemas.openxmlformats.org/officeDocument/2006/relationships/tags" Target="../tags/tag197.xml"/><Relationship Id="rId62" Type="http://schemas.openxmlformats.org/officeDocument/2006/relationships/tags" Target="../tags/tag205.xml"/><Relationship Id="rId70" Type="http://schemas.openxmlformats.org/officeDocument/2006/relationships/notesSlide" Target="../notesSlides/notesSlide6.xml"/><Relationship Id="rId75" Type="http://schemas.openxmlformats.org/officeDocument/2006/relationships/image" Target="../media/image37.jpeg"/><Relationship Id="rId1" Type="http://schemas.openxmlformats.org/officeDocument/2006/relationships/vmlDrawing" Target="../drawings/vmlDrawing3.vml"/><Relationship Id="rId6" Type="http://schemas.openxmlformats.org/officeDocument/2006/relationships/tags" Target="../tags/tag149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tags" Target="../tags/tag171.xml"/><Relationship Id="rId36" Type="http://schemas.openxmlformats.org/officeDocument/2006/relationships/tags" Target="../tags/tag179.xml"/><Relationship Id="rId49" Type="http://schemas.openxmlformats.org/officeDocument/2006/relationships/tags" Target="../tags/tag192.xml"/><Relationship Id="rId57" Type="http://schemas.openxmlformats.org/officeDocument/2006/relationships/tags" Target="../tags/tag200.xml"/><Relationship Id="rId10" Type="http://schemas.openxmlformats.org/officeDocument/2006/relationships/tags" Target="../tags/tag153.xml"/><Relationship Id="rId31" Type="http://schemas.openxmlformats.org/officeDocument/2006/relationships/tags" Target="../tags/tag174.xml"/><Relationship Id="rId44" Type="http://schemas.openxmlformats.org/officeDocument/2006/relationships/tags" Target="../tags/tag187.xml"/><Relationship Id="rId52" Type="http://schemas.openxmlformats.org/officeDocument/2006/relationships/tags" Target="../tags/tag195.xml"/><Relationship Id="rId60" Type="http://schemas.openxmlformats.org/officeDocument/2006/relationships/tags" Target="../tags/tag203.xml"/><Relationship Id="rId65" Type="http://schemas.openxmlformats.org/officeDocument/2006/relationships/tags" Target="../tags/tag208.xml"/><Relationship Id="rId73" Type="http://schemas.openxmlformats.org/officeDocument/2006/relationships/image" Target="../media/image35.png"/><Relationship Id="rId78" Type="http://schemas.openxmlformats.org/officeDocument/2006/relationships/image" Target="../media/image40.png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39" Type="http://schemas.openxmlformats.org/officeDocument/2006/relationships/tags" Target="../tags/tag182.xml"/><Relationship Id="rId34" Type="http://schemas.openxmlformats.org/officeDocument/2006/relationships/tags" Target="../tags/tag177.xml"/><Relationship Id="rId50" Type="http://schemas.openxmlformats.org/officeDocument/2006/relationships/tags" Target="../tags/tag193.xml"/><Relationship Id="rId55" Type="http://schemas.openxmlformats.org/officeDocument/2006/relationships/tags" Target="../tags/tag198.xml"/><Relationship Id="rId76" Type="http://schemas.openxmlformats.org/officeDocument/2006/relationships/image" Target="../media/image38.png"/><Relationship Id="rId7" Type="http://schemas.openxmlformats.org/officeDocument/2006/relationships/tags" Target="../tags/tag150.xml"/><Relationship Id="rId71" Type="http://schemas.openxmlformats.org/officeDocument/2006/relationships/oleObject" Target="../embeddings/oleObject2.bin"/><Relationship Id="rId2" Type="http://schemas.openxmlformats.org/officeDocument/2006/relationships/tags" Target="../tags/tag145.xml"/><Relationship Id="rId29" Type="http://schemas.openxmlformats.org/officeDocument/2006/relationships/tags" Target="../tags/tag17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0" r="58584" b="24012"/>
          <a:stretch/>
        </p:blipFill>
        <p:spPr>
          <a:xfrm>
            <a:off x="809204" y="0"/>
            <a:ext cx="2977869" cy="3908453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124528" y="748094"/>
            <a:ext cx="2664370" cy="1368190"/>
          </a:xfrm>
        </p:spPr>
        <p:txBody>
          <a:bodyPr/>
          <a:lstStyle/>
          <a:p>
            <a:r>
              <a:rPr lang="de-DE" altLang="ja-JP" sz="2400" dirty="0"/>
              <a:t>FUJITSU Lösungen mit Microsoft HCI</a:t>
            </a:r>
            <a:endParaRPr lang="de-DE" sz="2400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1115616" y="2427734"/>
            <a:ext cx="2744079" cy="720100"/>
          </a:xfrm>
        </p:spPr>
        <p:txBody>
          <a:bodyPr>
            <a:normAutofit fontScale="92500" lnSpcReduction="10000"/>
          </a:bodyPr>
          <a:lstStyle/>
          <a:p>
            <a:pPr>
              <a:tabLst>
                <a:tab pos="268288" algn="l"/>
              </a:tabLst>
            </a:pPr>
            <a:r>
              <a:rPr lang="de-DE" altLang="ja-JP" dirty="0"/>
              <a:t>Neue Produkte und erste Erfahrungen mit </a:t>
            </a:r>
            <a:br>
              <a:rPr lang="de-DE" altLang="ja-JP" dirty="0"/>
            </a:br>
            <a:r>
              <a:rPr lang="de-DE" altLang="ja-JP" dirty="0" err="1"/>
              <a:t>Azure</a:t>
            </a:r>
            <a:r>
              <a:rPr lang="de-DE" altLang="ja-JP" dirty="0"/>
              <a:t> Stack HCI aus der Praxis</a:t>
            </a:r>
            <a:endParaRPr lang="de-DE" dirty="0" smtClean="0"/>
          </a:p>
        </p:txBody>
      </p:sp>
      <p:sp>
        <p:nvSpPr>
          <p:cNvPr id="6" name="Text Placeholder 7"/>
          <p:cNvSpPr txBox="1">
            <a:spLocks/>
          </p:cNvSpPr>
          <p:nvPr/>
        </p:nvSpPr>
        <p:spPr>
          <a:xfrm>
            <a:off x="323528" y="3834160"/>
            <a:ext cx="8482263" cy="352597"/>
          </a:xfrm>
          <a:prstGeom prst="rect">
            <a:avLst/>
          </a:prstGeom>
        </p:spPr>
        <p:txBody>
          <a:bodyPr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lorian Frimmel &amp; Heiko Jung</a:t>
            </a:r>
            <a:b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.05.2021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0"/>
            <a:ext cx="2232248" cy="82366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141082"/>
            <a:ext cx="1152128" cy="54150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107504" y="4734583"/>
            <a:ext cx="65527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ndows Server 2019: The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ng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t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idges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n-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mises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oud</a:t>
            </a:r>
            <a:r>
              <a:rPr lang="de-DE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44241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ja-JP" dirty="0"/>
              <a:t>ServerView® </a:t>
            </a:r>
            <a:r>
              <a:rPr lang="de-DE" altLang="ja-JP" dirty="0" smtClean="0"/>
              <a:t>Software Update </a:t>
            </a:r>
            <a:r>
              <a:rPr lang="de-DE" dirty="0" smtClean="0"/>
              <a:t>– </a:t>
            </a:r>
            <a:r>
              <a:rPr lang="de-DE" dirty="0"/>
              <a:t>WAC Integration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059582"/>
            <a:ext cx="8770335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5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ja-JP" dirty="0"/>
              <a:t>ServerView® </a:t>
            </a:r>
            <a:r>
              <a:rPr lang="de-DE" altLang="ja-JP" dirty="0" smtClean="0"/>
              <a:t>RAID </a:t>
            </a:r>
            <a:r>
              <a:rPr lang="de-DE" dirty="0" smtClean="0"/>
              <a:t>– </a:t>
            </a:r>
            <a:r>
              <a:rPr lang="de-DE" dirty="0"/>
              <a:t>WAC Integration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4" y="1131590"/>
            <a:ext cx="8713663" cy="3257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1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ja-JP" dirty="0"/>
              <a:t>ServerView® </a:t>
            </a:r>
            <a:r>
              <a:rPr lang="de-DE" altLang="ja-JP" dirty="0" smtClean="0"/>
              <a:t>RAID </a:t>
            </a:r>
            <a:r>
              <a:rPr lang="de-DE" dirty="0" smtClean="0"/>
              <a:t>– </a:t>
            </a:r>
            <a:r>
              <a:rPr lang="de-DE" dirty="0"/>
              <a:t>WAC Integration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1131590"/>
            <a:ext cx="8713664" cy="272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043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705551" cy="770953"/>
          </a:xfrm>
        </p:spPr>
        <p:txBody>
          <a:bodyPr/>
          <a:lstStyle/>
          <a:p>
            <a:r>
              <a:rPr lang="de-DE" altLang="ja-JP" dirty="0" smtClean="0"/>
              <a:t>Neu: </a:t>
            </a:r>
            <a:r>
              <a:rPr lang="de-DE" dirty="0" smtClean="0"/>
              <a:t>Infrastructure </a:t>
            </a:r>
            <a:r>
              <a:rPr lang="de-DE" dirty="0"/>
              <a:t>Manager</a:t>
            </a:r>
            <a:r>
              <a:rPr lang="de-DE" dirty="0" smtClean="0"/>
              <a:t>®</a:t>
            </a:r>
            <a:br>
              <a:rPr lang="de-DE" dirty="0" smtClean="0"/>
            </a:br>
            <a:r>
              <a:rPr lang="de-DE" altLang="ja-JP" dirty="0" smtClean="0"/>
              <a:t> </a:t>
            </a:r>
            <a:r>
              <a:rPr lang="de-DE" dirty="0" smtClean="0"/>
              <a:t>– WAC </a:t>
            </a:r>
            <a:r>
              <a:rPr lang="de-DE" dirty="0"/>
              <a:t>Integration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4" y="987574"/>
            <a:ext cx="7327641" cy="388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68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849567" cy="770953"/>
          </a:xfrm>
        </p:spPr>
        <p:txBody>
          <a:bodyPr/>
          <a:lstStyle/>
          <a:p>
            <a:r>
              <a:rPr lang="de-DE" altLang="ja-JP" dirty="0"/>
              <a:t>Neu: </a:t>
            </a:r>
            <a:r>
              <a:rPr lang="de-DE" dirty="0"/>
              <a:t>Infrastructure Manager</a:t>
            </a:r>
            <a:r>
              <a:rPr lang="de-DE" dirty="0" smtClean="0"/>
              <a:t>®</a:t>
            </a:r>
            <a:br>
              <a:rPr lang="de-DE" dirty="0" smtClean="0"/>
            </a:br>
            <a:r>
              <a:rPr lang="de-DE" altLang="ja-JP" dirty="0" smtClean="0"/>
              <a:t> </a:t>
            </a:r>
            <a:r>
              <a:rPr lang="de-DE" dirty="0"/>
              <a:t>– WAC Integration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987574"/>
            <a:ext cx="8436843" cy="3005698"/>
          </a:xfrm>
          <a:prstGeom prst="rect">
            <a:avLst/>
          </a:prstGeom>
        </p:spPr>
      </p:pic>
      <p:sp>
        <p:nvSpPr>
          <p:cNvPr id="4" name="Pfeil nach links 3"/>
          <p:cNvSpPr/>
          <p:nvPr/>
        </p:nvSpPr>
        <p:spPr>
          <a:xfrm rot="19779964">
            <a:off x="3024074" y="731008"/>
            <a:ext cx="431556" cy="260539"/>
          </a:xfrm>
          <a:prstGeom prst="lef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4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849567" cy="770953"/>
          </a:xfrm>
        </p:spPr>
        <p:txBody>
          <a:bodyPr/>
          <a:lstStyle/>
          <a:p>
            <a:r>
              <a:rPr lang="de-DE" altLang="ja-JP" dirty="0"/>
              <a:t>Neu: </a:t>
            </a:r>
            <a:r>
              <a:rPr lang="de-DE" dirty="0"/>
              <a:t>Infrastructure Manager</a:t>
            </a:r>
            <a:r>
              <a:rPr lang="de-DE" dirty="0" smtClean="0"/>
              <a:t>®</a:t>
            </a:r>
            <a:br>
              <a:rPr lang="de-DE" dirty="0" smtClean="0"/>
            </a:br>
            <a:r>
              <a:rPr lang="de-DE" altLang="ja-JP" dirty="0" smtClean="0"/>
              <a:t> </a:t>
            </a:r>
            <a:r>
              <a:rPr lang="de-DE" dirty="0"/>
              <a:t>– WAC Integration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987574"/>
            <a:ext cx="7489527" cy="3760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64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987574"/>
            <a:ext cx="7561264" cy="370221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777559" cy="770953"/>
          </a:xfrm>
        </p:spPr>
        <p:txBody>
          <a:bodyPr/>
          <a:lstStyle/>
          <a:p>
            <a:r>
              <a:rPr lang="de-DE" altLang="ja-JP" dirty="0"/>
              <a:t>Neu: </a:t>
            </a:r>
            <a:r>
              <a:rPr lang="de-DE" dirty="0"/>
              <a:t>Infrastructure Manager</a:t>
            </a:r>
            <a:r>
              <a:rPr lang="de-DE" dirty="0" smtClean="0"/>
              <a:t>®</a:t>
            </a:r>
            <a:br>
              <a:rPr lang="de-DE" dirty="0" smtClean="0"/>
            </a:br>
            <a:r>
              <a:rPr lang="de-DE" altLang="ja-JP" dirty="0" smtClean="0"/>
              <a:t> </a:t>
            </a:r>
            <a:r>
              <a:rPr lang="de-DE" dirty="0"/>
              <a:t>– WAC Integration</a:t>
            </a:r>
          </a:p>
        </p:txBody>
      </p:sp>
      <p:sp>
        <p:nvSpPr>
          <p:cNvPr id="10" name="Legende mit Linie 1 (Rahmen und Akzentuierungsbalken) 9"/>
          <p:cNvSpPr/>
          <p:nvPr/>
        </p:nvSpPr>
        <p:spPr>
          <a:xfrm>
            <a:off x="3707904" y="3602420"/>
            <a:ext cx="1656184" cy="265473"/>
          </a:xfrm>
          <a:prstGeom prst="accentBorderCallout1">
            <a:avLst>
              <a:gd name="adj1" fmla="val 18750"/>
              <a:gd name="adj2" fmla="val -8333"/>
              <a:gd name="adj3" fmla="val 71681"/>
              <a:gd name="adj4" fmla="val -99057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„</a:t>
            </a:r>
            <a:r>
              <a:rPr lang="de-DE" sz="1200" dirty="0" err="1" smtClean="0">
                <a:solidFill>
                  <a:srgbClr val="FF0000"/>
                </a:solidFill>
              </a:rPr>
              <a:t>One-click</a:t>
            </a:r>
            <a:r>
              <a:rPr lang="de-DE" sz="1200" dirty="0" smtClean="0">
                <a:solidFill>
                  <a:srgbClr val="FF0000"/>
                </a:solidFill>
              </a:rPr>
              <a:t>“ update</a:t>
            </a:r>
          </a:p>
        </p:txBody>
      </p:sp>
      <p:sp>
        <p:nvSpPr>
          <p:cNvPr id="5" name="Legende mit Linie 1 (Rahmen und Akzentuierungsbalken) 4"/>
          <p:cNvSpPr/>
          <p:nvPr/>
        </p:nvSpPr>
        <p:spPr>
          <a:xfrm>
            <a:off x="6516911" y="3602420"/>
            <a:ext cx="2304256" cy="265473"/>
          </a:xfrm>
          <a:prstGeom prst="accentBorderCallout1">
            <a:avLst>
              <a:gd name="adj1" fmla="val 18750"/>
              <a:gd name="adj2" fmla="val -8333"/>
              <a:gd name="adj3" fmla="val -675043"/>
              <a:gd name="adj4" fmla="val 11883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Unterstütze Repository-Typen</a:t>
            </a:r>
          </a:p>
        </p:txBody>
      </p:sp>
    </p:spTree>
    <p:extLst>
      <p:ext uri="{BB962C8B-B14F-4D97-AF65-F5344CB8AC3E}">
        <p14:creationId xmlns:p14="http://schemas.microsoft.com/office/powerpoint/2010/main" val="225392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777559" cy="770953"/>
          </a:xfrm>
        </p:spPr>
        <p:txBody>
          <a:bodyPr/>
          <a:lstStyle/>
          <a:p>
            <a:r>
              <a:rPr lang="de-DE" altLang="ja-JP" dirty="0"/>
              <a:t>Neu: </a:t>
            </a:r>
            <a:r>
              <a:rPr lang="de-DE" dirty="0"/>
              <a:t>Infrastructure Manager</a:t>
            </a:r>
            <a:r>
              <a:rPr lang="de-DE" dirty="0" smtClean="0"/>
              <a:t>®</a:t>
            </a:r>
            <a:br>
              <a:rPr lang="de-DE" dirty="0" smtClean="0"/>
            </a:br>
            <a:r>
              <a:rPr lang="de-DE" altLang="ja-JP" dirty="0" smtClean="0"/>
              <a:t> </a:t>
            </a:r>
            <a:r>
              <a:rPr lang="de-DE" dirty="0"/>
              <a:t>– WAC Integration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1131591"/>
            <a:ext cx="8641656" cy="2910778"/>
          </a:xfrm>
          <a:prstGeom prst="rect">
            <a:avLst/>
          </a:prstGeom>
        </p:spPr>
      </p:pic>
      <p:sp>
        <p:nvSpPr>
          <p:cNvPr id="10" name="Legende mit Linie 1 (Rahmen und Akzentuierungsbalken) 9"/>
          <p:cNvSpPr/>
          <p:nvPr/>
        </p:nvSpPr>
        <p:spPr>
          <a:xfrm>
            <a:off x="7092280" y="3363838"/>
            <a:ext cx="1656184" cy="265473"/>
          </a:xfrm>
          <a:prstGeom prst="accentBorderCallout1">
            <a:avLst>
              <a:gd name="adj1" fmla="val 18750"/>
              <a:gd name="adj2" fmla="val -8333"/>
              <a:gd name="adj3" fmla="val -272761"/>
              <a:gd name="adj4" fmla="val 60356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„</a:t>
            </a:r>
            <a:r>
              <a:rPr lang="de-DE" sz="1200" dirty="0" err="1" smtClean="0">
                <a:solidFill>
                  <a:srgbClr val="FF0000"/>
                </a:solidFill>
              </a:rPr>
              <a:t>One-click</a:t>
            </a:r>
            <a:r>
              <a:rPr lang="de-DE" sz="1200" dirty="0" smtClean="0">
                <a:solidFill>
                  <a:srgbClr val="FF0000"/>
                </a:solidFill>
              </a:rPr>
              <a:t>“ update</a:t>
            </a:r>
          </a:p>
        </p:txBody>
      </p:sp>
      <p:sp>
        <p:nvSpPr>
          <p:cNvPr id="5" name="Legende mit Linie 1 (Rahmen und Akzentuierungsbalken) 4"/>
          <p:cNvSpPr/>
          <p:nvPr/>
        </p:nvSpPr>
        <p:spPr>
          <a:xfrm>
            <a:off x="3203848" y="1491630"/>
            <a:ext cx="1656184" cy="265473"/>
          </a:xfrm>
          <a:prstGeom prst="accentBorderCallout1">
            <a:avLst>
              <a:gd name="adj1" fmla="val 18750"/>
              <a:gd name="adj2" fmla="val -8333"/>
              <a:gd name="adj3" fmla="val -12864"/>
              <a:gd name="adj4" fmla="val -104274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Knoten</a:t>
            </a:r>
          </a:p>
        </p:txBody>
      </p:sp>
      <p:sp>
        <p:nvSpPr>
          <p:cNvPr id="6" name="Legende mit Linie 1 (Rahmen und Akzentuierungsbalken) 5"/>
          <p:cNvSpPr/>
          <p:nvPr/>
        </p:nvSpPr>
        <p:spPr>
          <a:xfrm>
            <a:off x="4139603" y="4515966"/>
            <a:ext cx="1656184" cy="265473"/>
          </a:xfrm>
          <a:prstGeom prst="accentBorderCallout1">
            <a:avLst>
              <a:gd name="adj1" fmla="val 18750"/>
              <a:gd name="adj2" fmla="val -8333"/>
              <a:gd name="adj3" fmla="val -207004"/>
              <a:gd name="adj4" fmla="val 52827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Knoten</a:t>
            </a:r>
          </a:p>
        </p:txBody>
      </p:sp>
    </p:spTree>
    <p:extLst>
      <p:ext uri="{BB962C8B-B14F-4D97-AF65-F5344CB8AC3E}">
        <p14:creationId xmlns:p14="http://schemas.microsoft.com/office/powerpoint/2010/main" val="2305274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Ankündigung: Cluster Aware </a:t>
            </a:r>
            <a:r>
              <a:rPr lang="de-DE" sz="2400" dirty="0" err="1" smtClean="0"/>
              <a:t>Updating</a:t>
            </a:r>
            <a:r>
              <a:rPr lang="de-DE" sz="2400" dirty="0" smtClean="0"/>
              <a:t> (CAU) mit FUJITSU </a:t>
            </a:r>
            <a:r>
              <a:rPr lang="de-DE" altLang="ja-JP" sz="2400" dirty="0"/>
              <a:t>ServerView® </a:t>
            </a:r>
            <a:r>
              <a:rPr lang="de-DE" altLang="ja-JP" sz="2400" dirty="0" err="1" smtClean="0"/>
              <a:t>PowerShell</a:t>
            </a:r>
            <a:endParaRPr lang="de-DE" sz="2400" dirty="0"/>
          </a:p>
        </p:txBody>
      </p:sp>
      <p:pic>
        <p:nvPicPr>
          <p:cNvPr id="3" name="Inhaltsplatzhalter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1163132"/>
            <a:ext cx="8642350" cy="346493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273" y="1163132"/>
            <a:ext cx="8638902" cy="1646252"/>
          </a:xfrm>
          <a:prstGeom prst="rect">
            <a:avLst/>
          </a:prstGeom>
        </p:spPr>
      </p:pic>
      <p:sp>
        <p:nvSpPr>
          <p:cNvPr id="6" name="Legende mit Linie 1 (Rahmen und Akzentuierungsbalken) 5"/>
          <p:cNvSpPr/>
          <p:nvPr/>
        </p:nvSpPr>
        <p:spPr>
          <a:xfrm>
            <a:off x="7236991" y="2929284"/>
            <a:ext cx="1656184" cy="506562"/>
          </a:xfrm>
          <a:prstGeom prst="accentBorderCallout1">
            <a:avLst>
              <a:gd name="adj1" fmla="val 18750"/>
              <a:gd name="adj2" fmla="val -8333"/>
              <a:gd name="adj3" fmla="val -15271"/>
              <a:gd name="adj4" fmla="val -108576"/>
            </a:avLst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dirty="0" smtClean="0">
                <a:solidFill>
                  <a:srgbClr val="FF0000"/>
                </a:solidFill>
              </a:rPr>
              <a:t>Manuelle Kontrolle im ISM</a:t>
            </a:r>
          </a:p>
        </p:txBody>
      </p:sp>
    </p:spTree>
    <p:extLst>
      <p:ext uri="{BB962C8B-B14F-4D97-AF65-F5344CB8AC3E}">
        <p14:creationId xmlns:p14="http://schemas.microsoft.com/office/powerpoint/2010/main" val="14685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300" dirty="0" err="1" smtClean="0"/>
              <a:t>Stretched</a:t>
            </a:r>
            <a:r>
              <a:rPr lang="de-DE" sz="2300" dirty="0" smtClean="0"/>
              <a:t> Cluster bei FUJITSU unterstützt mit PRIMEFLEX </a:t>
            </a:r>
            <a:r>
              <a:rPr lang="de-DE" sz="2300" dirty="0" err="1" smtClean="0"/>
              <a:t>for</a:t>
            </a:r>
            <a:r>
              <a:rPr lang="de-DE" sz="2300" dirty="0" smtClean="0"/>
              <a:t> Microsoft Azure Stack HCI </a:t>
            </a:r>
            <a:endParaRPr lang="de-DE" sz="23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in Cluster lässt sich über zwei entfernte RZs spannen</a:t>
            </a:r>
          </a:p>
          <a:p>
            <a:r>
              <a:rPr lang="de-DE" dirty="0" err="1" smtClean="0"/>
              <a:t>Sync</a:t>
            </a:r>
            <a:r>
              <a:rPr lang="de-DE" dirty="0" smtClean="0"/>
              <a:t>/</a:t>
            </a:r>
            <a:r>
              <a:rPr lang="de-DE" dirty="0" err="1" smtClean="0"/>
              <a:t>async</a:t>
            </a:r>
            <a:r>
              <a:rPr lang="de-DE" dirty="0" smtClean="0"/>
              <a:t> Replizierung – optionale Verschlüsselung – lokale Redundanz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2067694"/>
            <a:ext cx="8928992" cy="281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63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jitsu </a:t>
            </a:r>
            <a:r>
              <a:rPr lang="de-DE" dirty="0" smtClean="0"/>
              <a:t>S2D / ASHCI Channel </a:t>
            </a:r>
            <a:r>
              <a:rPr lang="de-DE" dirty="0"/>
              <a:t>Exper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993726"/>
            <a:ext cx="3745111" cy="3744912"/>
          </a:xfrm>
        </p:spPr>
        <p:txBody>
          <a:bodyPr/>
          <a:lstStyle/>
          <a:p>
            <a:r>
              <a:rPr lang="de-DE" sz="2000" dirty="0"/>
              <a:t>Wir laden Sie ein, Teil der Fujitsu </a:t>
            </a:r>
            <a:r>
              <a:rPr lang="de-DE" sz="2000" dirty="0" smtClean="0"/>
              <a:t>S2D / </a:t>
            </a:r>
            <a:r>
              <a:rPr lang="de-DE" sz="2000" dirty="0" err="1" smtClean="0"/>
              <a:t>Azure</a:t>
            </a:r>
            <a:r>
              <a:rPr lang="de-DE" sz="2000" dirty="0" smtClean="0"/>
              <a:t> </a:t>
            </a:r>
            <a:r>
              <a:rPr lang="de-DE" sz="2000" dirty="0"/>
              <a:t>Stack HCI Channel Experten Community auf LinkedIn zu werden</a:t>
            </a:r>
            <a:r>
              <a:rPr lang="de-DE" sz="2000" dirty="0" smtClean="0"/>
              <a:t>.</a:t>
            </a:r>
          </a:p>
          <a:p>
            <a:r>
              <a:rPr lang="de-DE" sz="2000" dirty="0" smtClean="0"/>
              <a:t>Fragen stellen. </a:t>
            </a:r>
            <a:r>
              <a:rPr lang="de-DE" sz="2000" dirty="0"/>
              <a:t>Fujitsu und Microsoft Experten stehen bereit Sie zu unterstützen. </a:t>
            </a:r>
            <a:endParaRPr lang="de-DE" sz="2000" dirty="0" smtClean="0"/>
          </a:p>
          <a:p>
            <a:r>
              <a:rPr lang="de-DE" sz="2000" dirty="0" smtClean="0"/>
              <a:t>Neueste Informationen erhalten.</a:t>
            </a:r>
            <a:endParaRPr lang="de-DE" sz="2000" dirty="0"/>
          </a:p>
          <a:p>
            <a:r>
              <a:rPr lang="de-DE" sz="2000" u="sng" dirty="0">
                <a:hlinkClick r:id="rId2"/>
              </a:rPr>
              <a:t>https://www.linkedin.com</a:t>
            </a:r>
            <a:r>
              <a:rPr lang="de-DE" sz="2000" u="sng" dirty="0" smtClean="0">
                <a:hlinkClick r:id="rId2"/>
              </a:rPr>
              <a:t>/</a:t>
            </a:r>
            <a:br>
              <a:rPr lang="de-DE" sz="2000" u="sng" dirty="0" smtClean="0">
                <a:hlinkClick r:id="rId2"/>
              </a:rPr>
            </a:br>
            <a:r>
              <a:rPr lang="de-DE" sz="2000" u="sng" dirty="0" err="1" smtClean="0">
                <a:hlinkClick r:id="rId2"/>
              </a:rPr>
              <a:t>groups</a:t>
            </a:r>
            <a:r>
              <a:rPr lang="de-DE" sz="2000" u="sng" dirty="0" smtClean="0">
                <a:hlinkClick r:id="rId2"/>
              </a:rPr>
              <a:t>/8934365</a:t>
            </a:r>
            <a:endParaRPr lang="de-DE" sz="2000" dirty="0"/>
          </a:p>
          <a:p>
            <a:endParaRPr lang="de-DE" sz="20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6294" y="993726"/>
            <a:ext cx="4917706" cy="382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7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176881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1</a:t>
            </a:r>
            <a:r>
              <a:rPr lang="de-DE" sz="1350" dirty="0" smtClean="0"/>
              <a:t> (</a:t>
            </a:r>
            <a:r>
              <a:rPr lang="de-DE" sz="1350" b="1" dirty="0" smtClean="0"/>
              <a:t>Quel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1419622"/>
            <a:ext cx="2311805" cy="58029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2066384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1</a:t>
            </a:r>
            <a:endParaRPr lang="de-DE" sz="135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2290067"/>
            <a:ext cx="2311805" cy="58029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066384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2</a:t>
            </a:r>
            <a:endParaRPr lang="de-DE" sz="1350" dirty="0"/>
          </a:p>
        </p:txBody>
      </p:sp>
      <p:sp>
        <p:nvSpPr>
          <p:cNvPr id="11" name="Rechteck 10"/>
          <p:cNvSpPr/>
          <p:nvPr/>
        </p:nvSpPr>
        <p:spPr>
          <a:xfrm>
            <a:off x="5147958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2</a:t>
            </a:r>
            <a:r>
              <a:rPr lang="de-DE" sz="1350" dirty="0" smtClean="0"/>
              <a:t> (</a:t>
            </a:r>
            <a:r>
              <a:rPr lang="de-DE" sz="1350" b="1" dirty="0" smtClean="0"/>
              <a:t>Zie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1419622"/>
            <a:ext cx="2311805" cy="58029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6037461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3</a:t>
            </a:r>
            <a:endParaRPr lang="de-DE" sz="135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2290067"/>
            <a:ext cx="2311805" cy="580297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037461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4</a:t>
            </a:r>
            <a:endParaRPr lang="de-DE" sz="135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72557"/>
            <a:ext cx="5905352" cy="770953"/>
          </a:xfrm>
        </p:spPr>
        <p:txBody>
          <a:bodyPr/>
          <a:lstStyle/>
          <a:p>
            <a:r>
              <a:rPr lang="de-DE" dirty="0" err="1" smtClean="0"/>
              <a:t>Streched</a:t>
            </a:r>
            <a:r>
              <a:rPr lang="de-DE" dirty="0" smtClean="0"/>
              <a:t> Cluster mit synchroner </a:t>
            </a:r>
            <a:r>
              <a:rPr lang="de-DE" dirty="0"/>
              <a:t>R</a:t>
            </a:r>
            <a:r>
              <a:rPr lang="de-DE" dirty="0" smtClean="0"/>
              <a:t>eplikation</a:t>
            </a:r>
            <a:endParaRPr lang="de-DE" dirty="0"/>
          </a:p>
        </p:txBody>
      </p:sp>
      <p:sp>
        <p:nvSpPr>
          <p:cNvPr id="17" name="Flussdiagramm: Magnetplattenspeicher 16"/>
          <p:cNvSpPr/>
          <p:nvPr/>
        </p:nvSpPr>
        <p:spPr>
          <a:xfrm>
            <a:off x="1901043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cxnSp>
        <p:nvCxnSpPr>
          <p:cNvPr id="21" name="Gerade Verbindung mit Pfeil 20"/>
          <p:cNvCxnSpPr/>
          <p:nvPr/>
        </p:nvCxnSpPr>
        <p:spPr>
          <a:xfrm>
            <a:off x="2533315" y="2945676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Flussdiagramm: Magnetplattenspeicher 21"/>
          <p:cNvSpPr/>
          <p:nvPr/>
        </p:nvSpPr>
        <p:spPr>
          <a:xfrm>
            <a:off x="1901043" y="3965747"/>
            <a:ext cx="1264544" cy="420986"/>
          </a:xfrm>
          <a:prstGeom prst="flowChartMagneticDisk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aktiv)</a:t>
            </a:r>
            <a:endParaRPr lang="de-DE" sz="1350" dirty="0"/>
          </a:p>
        </p:txBody>
      </p:sp>
      <p:sp>
        <p:nvSpPr>
          <p:cNvPr id="23" name="Flussdiagramm: Magnetplattenspeicher 22"/>
          <p:cNvSpPr/>
          <p:nvPr/>
        </p:nvSpPr>
        <p:spPr>
          <a:xfrm>
            <a:off x="5880905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sp>
        <p:nvSpPr>
          <p:cNvPr id="25" name="Abgerundetes Rechteck 24"/>
          <p:cNvSpPr/>
          <p:nvPr/>
        </p:nvSpPr>
        <p:spPr>
          <a:xfrm>
            <a:off x="3720665" y="1999919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10.x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3720665" y="2220175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20.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36334" y="1538254"/>
            <a:ext cx="10847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Replikations-Netzwerk</a:t>
            </a:r>
            <a:endParaRPr lang="de-DE" sz="1200" dirty="0"/>
          </a:p>
        </p:txBody>
      </p:sp>
      <p:sp>
        <p:nvSpPr>
          <p:cNvPr id="28" name="Abgerundetes Rechteck 27"/>
          <p:cNvSpPr/>
          <p:nvPr/>
        </p:nvSpPr>
        <p:spPr>
          <a:xfrm>
            <a:off x="1272393" y="1999919"/>
            <a:ext cx="504056" cy="290147"/>
          </a:xfrm>
          <a:prstGeom prst="roundRect">
            <a:avLst/>
          </a:prstGeom>
          <a:solidFill>
            <a:srgbClr val="1782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VM</a:t>
            </a:r>
          </a:p>
        </p:txBody>
      </p:sp>
      <p:cxnSp>
        <p:nvCxnSpPr>
          <p:cNvPr id="34" name="Gerade Verbindung mit Pfeil 33"/>
          <p:cNvCxnSpPr/>
          <p:nvPr/>
        </p:nvCxnSpPr>
        <p:spPr>
          <a:xfrm flipV="1">
            <a:off x="3678123" y="2595240"/>
            <a:ext cx="1670367" cy="2360"/>
          </a:xfrm>
          <a:prstGeom prst="straightConnector1">
            <a:avLst/>
          </a:prstGeom>
          <a:ln w="34925">
            <a:solidFill>
              <a:srgbClr val="1BA12B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Ellipse 43"/>
          <p:cNvSpPr/>
          <p:nvPr/>
        </p:nvSpPr>
        <p:spPr>
          <a:xfrm>
            <a:off x="2714520" y="295254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45" name="Gerade Verbindung mit Pfeil 44"/>
          <p:cNvCxnSpPr/>
          <p:nvPr/>
        </p:nvCxnSpPr>
        <p:spPr>
          <a:xfrm>
            <a:off x="2525640" y="3677234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2722873" y="3684278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1" name="Flussdiagramm: Magnetplattenspeicher 50"/>
          <p:cNvSpPr/>
          <p:nvPr/>
        </p:nvSpPr>
        <p:spPr>
          <a:xfrm>
            <a:off x="5880905" y="3994375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passiv)</a:t>
            </a:r>
            <a:endParaRPr lang="de-DE" sz="1350" dirty="0"/>
          </a:p>
        </p:txBody>
      </p:sp>
      <p:cxnSp>
        <p:nvCxnSpPr>
          <p:cNvPr id="52" name="Gerade Verbindung mit Pfeil 51"/>
          <p:cNvCxnSpPr/>
          <p:nvPr/>
        </p:nvCxnSpPr>
        <p:spPr>
          <a:xfrm>
            <a:off x="6505502" y="3705862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6702735" y="371290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6491788" y="2939559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672993" y="2946429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8" name="Gerade Verbindung mit Pfeil 57"/>
          <p:cNvCxnSpPr>
            <a:endCxn id="6" idx="0"/>
          </p:cNvCxnSpPr>
          <p:nvPr/>
        </p:nvCxnSpPr>
        <p:spPr>
          <a:xfrm>
            <a:off x="1779300" y="2110728"/>
            <a:ext cx="754016" cy="1793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73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176881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1</a:t>
            </a:r>
            <a:r>
              <a:rPr lang="de-DE" sz="1350" dirty="0" smtClean="0"/>
              <a:t> (</a:t>
            </a:r>
            <a:r>
              <a:rPr lang="de-DE" sz="1350" b="1" dirty="0" smtClean="0"/>
              <a:t>Quel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1419622"/>
            <a:ext cx="2311805" cy="58029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2066384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1</a:t>
            </a:r>
            <a:endParaRPr lang="de-DE" sz="135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2290067"/>
            <a:ext cx="2311805" cy="58029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066384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2</a:t>
            </a:r>
            <a:endParaRPr lang="de-DE" sz="1350" dirty="0"/>
          </a:p>
        </p:txBody>
      </p:sp>
      <p:sp>
        <p:nvSpPr>
          <p:cNvPr id="11" name="Rechteck 10"/>
          <p:cNvSpPr/>
          <p:nvPr/>
        </p:nvSpPr>
        <p:spPr>
          <a:xfrm>
            <a:off x="5147958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2</a:t>
            </a:r>
            <a:r>
              <a:rPr lang="de-DE" sz="1350" dirty="0" smtClean="0"/>
              <a:t> (</a:t>
            </a:r>
            <a:r>
              <a:rPr lang="de-DE" sz="1350" b="1" dirty="0" smtClean="0"/>
              <a:t>Zie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1419622"/>
            <a:ext cx="2311805" cy="58029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6037461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3</a:t>
            </a:r>
            <a:endParaRPr lang="de-DE" sz="135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2290067"/>
            <a:ext cx="2311805" cy="580297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037461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4</a:t>
            </a:r>
            <a:endParaRPr lang="de-DE" sz="135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777559" cy="770953"/>
          </a:xfrm>
        </p:spPr>
        <p:txBody>
          <a:bodyPr/>
          <a:lstStyle/>
          <a:p>
            <a:r>
              <a:rPr lang="de-DE" dirty="0" smtClean="0"/>
              <a:t>Seite 1 ist ausgefallen</a:t>
            </a:r>
            <a:endParaRPr lang="de-DE" dirty="0"/>
          </a:p>
        </p:txBody>
      </p:sp>
      <p:sp>
        <p:nvSpPr>
          <p:cNvPr id="17" name="Flussdiagramm: Magnetplattenspeicher 16"/>
          <p:cNvSpPr/>
          <p:nvPr/>
        </p:nvSpPr>
        <p:spPr>
          <a:xfrm>
            <a:off x="1901043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cxnSp>
        <p:nvCxnSpPr>
          <p:cNvPr id="21" name="Gerade Verbindung mit Pfeil 20"/>
          <p:cNvCxnSpPr/>
          <p:nvPr/>
        </p:nvCxnSpPr>
        <p:spPr>
          <a:xfrm>
            <a:off x="2533315" y="2945676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Flussdiagramm: Magnetplattenspeicher 21"/>
          <p:cNvSpPr/>
          <p:nvPr/>
        </p:nvSpPr>
        <p:spPr>
          <a:xfrm>
            <a:off x="1901043" y="3965747"/>
            <a:ext cx="1264544" cy="420986"/>
          </a:xfrm>
          <a:prstGeom prst="flowChartMagneticDisk">
            <a:avLst/>
          </a:prstGeom>
          <a:solidFill>
            <a:srgbClr val="1BA12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aktiv)</a:t>
            </a:r>
            <a:endParaRPr lang="de-DE" sz="1350" dirty="0"/>
          </a:p>
        </p:txBody>
      </p:sp>
      <p:sp>
        <p:nvSpPr>
          <p:cNvPr id="23" name="Flussdiagramm: Magnetplattenspeicher 22"/>
          <p:cNvSpPr/>
          <p:nvPr/>
        </p:nvSpPr>
        <p:spPr>
          <a:xfrm>
            <a:off x="5880905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sp>
        <p:nvSpPr>
          <p:cNvPr id="25" name="Abgerundetes Rechteck 24"/>
          <p:cNvSpPr/>
          <p:nvPr/>
        </p:nvSpPr>
        <p:spPr>
          <a:xfrm>
            <a:off x="3720665" y="1999919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10.x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3720665" y="2220175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20.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36334" y="1538254"/>
            <a:ext cx="10847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Replikations-Netzwerk</a:t>
            </a:r>
            <a:endParaRPr lang="de-DE" sz="1200" dirty="0"/>
          </a:p>
        </p:txBody>
      </p:sp>
      <p:sp>
        <p:nvSpPr>
          <p:cNvPr id="28" name="Abgerundetes Rechteck 27"/>
          <p:cNvSpPr/>
          <p:nvPr/>
        </p:nvSpPr>
        <p:spPr>
          <a:xfrm>
            <a:off x="1272393" y="1999919"/>
            <a:ext cx="504056" cy="290147"/>
          </a:xfrm>
          <a:prstGeom prst="roundRect">
            <a:avLst/>
          </a:prstGeom>
          <a:solidFill>
            <a:srgbClr val="1782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44" name="Ellipse 43"/>
          <p:cNvSpPr/>
          <p:nvPr/>
        </p:nvSpPr>
        <p:spPr>
          <a:xfrm>
            <a:off x="2714520" y="295254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45" name="Gerade Verbindung mit Pfeil 44"/>
          <p:cNvCxnSpPr/>
          <p:nvPr/>
        </p:nvCxnSpPr>
        <p:spPr>
          <a:xfrm>
            <a:off x="2525640" y="3677234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2722873" y="3684278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1" name="Flussdiagramm: Magnetplattenspeicher 50"/>
          <p:cNvSpPr/>
          <p:nvPr/>
        </p:nvSpPr>
        <p:spPr>
          <a:xfrm>
            <a:off x="5880905" y="3994375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passiv)</a:t>
            </a:r>
            <a:endParaRPr lang="de-DE" sz="1350" dirty="0"/>
          </a:p>
        </p:txBody>
      </p:sp>
      <p:cxnSp>
        <p:nvCxnSpPr>
          <p:cNvPr id="52" name="Gerade Verbindung mit Pfeil 51"/>
          <p:cNvCxnSpPr/>
          <p:nvPr/>
        </p:nvCxnSpPr>
        <p:spPr>
          <a:xfrm>
            <a:off x="6505502" y="3705862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6702735" y="371290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6491788" y="2939559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672993" y="2946429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8" name="Gerade Verbindung mit Pfeil 57"/>
          <p:cNvCxnSpPr>
            <a:endCxn id="6" idx="0"/>
          </p:cNvCxnSpPr>
          <p:nvPr/>
        </p:nvCxnSpPr>
        <p:spPr>
          <a:xfrm>
            <a:off x="1779300" y="2110728"/>
            <a:ext cx="754016" cy="1793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Gewitterblitz 2"/>
          <p:cNvSpPr/>
          <p:nvPr/>
        </p:nvSpPr>
        <p:spPr>
          <a:xfrm>
            <a:off x="1547664" y="1131590"/>
            <a:ext cx="1872208" cy="3283771"/>
          </a:xfrm>
          <a:prstGeom prst="lightningBol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cxnSp>
        <p:nvCxnSpPr>
          <p:cNvPr id="32" name="Gerade Verbindung mit Pfeil 31"/>
          <p:cNvCxnSpPr/>
          <p:nvPr/>
        </p:nvCxnSpPr>
        <p:spPr>
          <a:xfrm flipV="1">
            <a:off x="3678123" y="2595240"/>
            <a:ext cx="1670367" cy="2360"/>
          </a:xfrm>
          <a:prstGeom prst="straightConnector1">
            <a:avLst/>
          </a:prstGeom>
          <a:ln w="34925">
            <a:solidFill>
              <a:srgbClr val="1BA12B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49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176881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1</a:t>
            </a:r>
            <a:r>
              <a:rPr lang="de-DE" sz="1350" dirty="0" smtClean="0"/>
              <a:t> (</a:t>
            </a:r>
            <a:r>
              <a:rPr lang="de-DE" sz="1350" b="1" dirty="0" smtClean="0"/>
              <a:t>Quel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1419622"/>
            <a:ext cx="2311805" cy="58029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2066384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1</a:t>
            </a:r>
            <a:endParaRPr lang="de-DE" sz="135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2290067"/>
            <a:ext cx="2311805" cy="58029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066384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2</a:t>
            </a:r>
            <a:endParaRPr lang="de-DE" sz="1350" dirty="0"/>
          </a:p>
        </p:txBody>
      </p:sp>
      <p:sp>
        <p:nvSpPr>
          <p:cNvPr id="11" name="Rechteck 10"/>
          <p:cNvSpPr/>
          <p:nvPr/>
        </p:nvSpPr>
        <p:spPr>
          <a:xfrm>
            <a:off x="5147958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2</a:t>
            </a:r>
            <a:r>
              <a:rPr lang="de-DE" sz="1350" dirty="0" smtClean="0"/>
              <a:t> (</a:t>
            </a:r>
            <a:r>
              <a:rPr lang="de-DE" sz="1350" b="1" dirty="0" smtClean="0"/>
              <a:t>Zie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1419622"/>
            <a:ext cx="2311805" cy="58029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6037461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3</a:t>
            </a:r>
            <a:endParaRPr lang="de-DE" sz="135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2290067"/>
            <a:ext cx="2311805" cy="580297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037461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4</a:t>
            </a:r>
            <a:endParaRPr lang="de-DE" sz="135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7777559" cy="770953"/>
          </a:xfrm>
        </p:spPr>
        <p:txBody>
          <a:bodyPr/>
          <a:lstStyle/>
          <a:p>
            <a:r>
              <a:rPr lang="de-DE" dirty="0" smtClean="0"/>
              <a:t>Seite 2 ist hochgefahren</a:t>
            </a:r>
            <a:endParaRPr lang="de-DE" dirty="0"/>
          </a:p>
        </p:txBody>
      </p:sp>
      <p:sp>
        <p:nvSpPr>
          <p:cNvPr id="17" name="Flussdiagramm: Magnetplattenspeicher 16"/>
          <p:cNvSpPr/>
          <p:nvPr/>
        </p:nvSpPr>
        <p:spPr>
          <a:xfrm>
            <a:off x="1901043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cxnSp>
        <p:nvCxnSpPr>
          <p:cNvPr id="21" name="Gerade Verbindung mit Pfeil 20"/>
          <p:cNvCxnSpPr/>
          <p:nvPr/>
        </p:nvCxnSpPr>
        <p:spPr>
          <a:xfrm>
            <a:off x="2533315" y="2945676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Flussdiagramm: Magnetplattenspeicher 21"/>
          <p:cNvSpPr/>
          <p:nvPr/>
        </p:nvSpPr>
        <p:spPr>
          <a:xfrm>
            <a:off x="1901043" y="3965747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passiv)</a:t>
            </a:r>
            <a:endParaRPr lang="de-DE" sz="1350" dirty="0"/>
          </a:p>
        </p:txBody>
      </p:sp>
      <p:sp>
        <p:nvSpPr>
          <p:cNvPr id="23" name="Flussdiagramm: Magnetplattenspeicher 22"/>
          <p:cNvSpPr/>
          <p:nvPr/>
        </p:nvSpPr>
        <p:spPr>
          <a:xfrm>
            <a:off x="5880905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sp>
        <p:nvSpPr>
          <p:cNvPr id="25" name="Abgerundetes Rechteck 24"/>
          <p:cNvSpPr/>
          <p:nvPr/>
        </p:nvSpPr>
        <p:spPr>
          <a:xfrm>
            <a:off x="3720665" y="1999919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10.x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3720665" y="2220175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20.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36334" y="1538254"/>
            <a:ext cx="10847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Replikations-Netzwerk</a:t>
            </a:r>
            <a:endParaRPr lang="de-DE" sz="1200" dirty="0"/>
          </a:p>
        </p:txBody>
      </p:sp>
      <p:sp>
        <p:nvSpPr>
          <p:cNvPr id="28" name="Abgerundetes Rechteck 27"/>
          <p:cNvSpPr/>
          <p:nvPr/>
        </p:nvSpPr>
        <p:spPr>
          <a:xfrm>
            <a:off x="5468060" y="2025494"/>
            <a:ext cx="504056" cy="290147"/>
          </a:xfrm>
          <a:prstGeom prst="roundRect">
            <a:avLst/>
          </a:prstGeom>
          <a:solidFill>
            <a:srgbClr val="1782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44" name="Ellipse 43"/>
          <p:cNvSpPr/>
          <p:nvPr/>
        </p:nvSpPr>
        <p:spPr>
          <a:xfrm>
            <a:off x="2714520" y="295254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45" name="Gerade Verbindung mit Pfeil 44"/>
          <p:cNvCxnSpPr/>
          <p:nvPr/>
        </p:nvCxnSpPr>
        <p:spPr>
          <a:xfrm>
            <a:off x="2525640" y="3677234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2722873" y="3684278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1" name="Flussdiagramm: Magnetplattenspeicher 50"/>
          <p:cNvSpPr/>
          <p:nvPr/>
        </p:nvSpPr>
        <p:spPr>
          <a:xfrm>
            <a:off x="5880905" y="3994375"/>
            <a:ext cx="1264544" cy="420986"/>
          </a:xfrm>
          <a:prstGeom prst="flowChartMagneticDisk">
            <a:avLst/>
          </a:prstGeom>
          <a:solidFill>
            <a:srgbClr val="1BA12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aktiv)</a:t>
            </a:r>
            <a:endParaRPr lang="de-DE" sz="1350" dirty="0"/>
          </a:p>
        </p:txBody>
      </p:sp>
      <p:cxnSp>
        <p:nvCxnSpPr>
          <p:cNvPr id="52" name="Gerade Verbindung mit Pfeil 51"/>
          <p:cNvCxnSpPr/>
          <p:nvPr/>
        </p:nvCxnSpPr>
        <p:spPr>
          <a:xfrm>
            <a:off x="6505502" y="3705862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6702735" y="371290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6491788" y="2939559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672993" y="2946429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8" name="Gerade Verbindung mit Pfeil 57"/>
          <p:cNvCxnSpPr>
            <a:endCxn id="14" idx="0"/>
          </p:cNvCxnSpPr>
          <p:nvPr/>
        </p:nvCxnSpPr>
        <p:spPr>
          <a:xfrm>
            <a:off x="5974967" y="2136303"/>
            <a:ext cx="529426" cy="1537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Gewitterblitz 2"/>
          <p:cNvSpPr/>
          <p:nvPr/>
        </p:nvSpPr>
        <p:spPr>
          <a:xfrm>
            <a:off x="1547664" y="1131590"/>
            <a:ext cx="1872208" cy="3283771"/>
          </a:xfrm>
          <a:prstGeom prst="lightningBol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44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176881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1</a:t>
            </a:r>
            <a:r>
              <a:rPr lang="de-DE" sz="1350" dirty="0" smtClean="0"/>
              <a:t> (</a:t>
            </a:r>
            <a:r>
              <a:rPr lang="de-DE" sz="1350" b="1" dirty="0" smtClean="0"/>
              <a:t>Zie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1419622"/>
            <a:ext cx="2311805" cy="58029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2066384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1</a:t>
            </a:r>
            <a:endParaRPr lang="de-DE" sz="135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7413" y="2290067"/>
            <a:ext cx="2311805" cy="58029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066384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 smtClean="0"/>
              <a:t>Knoten 2</a:t>
            </a:r>
            <a:endParaRPr lang="de-DE" sz="1350" dirty="0"/>
          </a:p>
        </p:txBody>
      </p:sp>
      <p:sp>
        <p:nvSpPr>
          <p:cNvPr id="11" name="Rechteck 10"/>
          <p:cNvSpPr/>
          <p:nvPr/>
        </p:nvSpPr>
        <p:spPr>
          <a:xfrm>
            <a:off x="5147958" y="1014616"/>
            <a:ext cx="2736410" cy="36453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b="1" dirty="0" smtClean="0">
                <a:solidFill>
                  <a:srgbClr val="FF0000"/>
                </a:solidFill>
              </a:rPr>
              <a:t>Seite 2</a:t>
            </a:r>
            <a:r>
              <a:rPr lang="de-DE" sz="1350" dirty="0" smtClean="0"/>
              <a:t> (</a:t>
            </a:r>
            <a:r>
              <a:rPr lang="de-DE" sz="1350" b="1" dirty="0" smtClean="0"/>
              <a:t>Quellserver</a:t>
            </a:r>
            <a:r>
              <a:rPr lang="de-DE" sz="1350" dirty="0" smtClean="0"/>
              <a:t>)</a:t>
            </a:r>
            <a:endParaRPr lang="de-DE" sz="135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1419622"/>
            <a:ext cx="2311805" cy="580297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6037461" y="1861419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3</a:t>
            </a:r>
            <a:endParaRPr lang="de-DE" sz="135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490" y="2290067"/>
            <a:ext cx="2311805" cy="580297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037461" y="2731864"/>
            <a:ext cx="16228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Knoten </a:t>
            </a:r>
            <a:r>
              <a:rPr lang="de-DE" sz="1350" dirty="0" smtClean="0"/>
              <a:t>4</a:t>
            </a:r>
            <a:endParaRPr lang="de-DE" sz="135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72557"/>
            <a:ext cx="5786637" cy="770953"/>
          </a:xfrm>
        </p:spPr>
        <p:txBody>
          <a:bodyPr/>
          <a:lstStyle/>
          <a:p>
            <a:r>
              <a:rPr lang="de-DE" dirty="0" smtClean="0"/>
              <a:t>Seite 1 ist wieder da – Replikation beginnt</a:t>
            </a:r>
            <a:endParaRPr lang="de-DE" dirty="0"/>
          </a:p>
        </p:txBody>
      </p:sp>
      <p:sp>
        <p:nvSpPr>
          <p:cNvPr id="17" name="Flussdiagramm: Magnetplattenspeicher 16"/>
          <p:cNvSpPr/>
          <p:nvPr/>
        </p:nvSpPr>
        <p:spPr>
          <a:xfrm>
            <a:off x="1901043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cxnSp>
        <p:nvCxnSpPr>
          <p:cNvPr id="21" name="Gerade Verbindung mit Pfeil 20"/>
          <p:cNvCxnSpPr/>
          <p:nvPr/>
        </p:nvCxnSpPr>
        <p:spPr>
          <a:xfrm>
            <a:off x="2533315" y="2945676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Flussdiagramm: Magnetplattenspeicher 21"/>
          <p:cNvSpPr/>
          <p:nvPr/>
        </p:nvSpPr>
        <p:spPr>
          <a:xfrm>
            <a:off x="1901043" y="3965747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passiv)</a:t>
            </a:r>
            <a:endParaRPr lang="de-DE" sz="1350" dirty="0"/>
          </a:p>
        </p:txBody>
      </p:sp>
      <p:sp>
        <p:nvSpPr>
          <p:cNvPr id="23" name="Flussdiagramm: Magnetplattenspeicher 22"/>
          <p:cNvSpPr/>
          <p:nvPr/>
        </p:nvSpPr>
        <p:spPr>
          <a:xfrm>
            <a:off x="5880905" y="3197848"/>
            <a:ext cx="1264544" cy="42098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Log-Datei</a:t>
            </a:r>
            <a:endParaRPr lang="de-DE" sz="1350" dirty="0"/>
          </a:p>
        </p:txBody>
      </p:sp>
      <p:sp>
        <p:nvSpPr>
          <p:cNvPr id="25" name="Abgerundetes Rechteck 24"/>
          <p:cNvSpPr/>
          <p:nvPr/>
        </p:nvSpPr>
        <p:spPr>
          <a:xfrm>
            <a:off x="3720665" y="1999919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10.x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3720665" y="2220175"/>
            <a:ext cx="1627825" cy="13978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92.168.20.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36334" y="1538254"/>
            <a:ext cx="10847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Replikations-Netzwerk</a:t>
            </a:r>
            <a:endParaRPr lang="de-DE" sz="1200" dirty="0"/>
          </a:p>
        </p:txBody>
      </p:sp>
      <p:sp>
        <p:nvSpPr>
          <p:cNvPr id="28" name="Abgerundetes Rechteck 27"/>
          <p:cNvSpPr/>
          <p:nvPr/>
        </p:nvSpPr>
        <p:spPr>
          <a:xfrm>
            <a:off x="5468060" y="2025494"/>
            <a:ext cx="504056" cy="290147"/>
          </a:xfrm>
          <a:prstGeom prst="roundRect">
            <a:avLst/>
          </a:prstGeom>
          <a:solidFill>
            <a:srgbClr val="1782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44" name="Ellipse 43"/>
          <p:cNvSpPr/>
          <p:nvPr/>
        </p:nvSpPr>
        <p:spPr>
          <a:xfrm>
            <a:off x="2714520" y="295254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45" name="Gerade Verbindung mit Pfeil 44"/>
          <p:cNvCxnSpPr/>
          <p:nvPr/>
        </p:nvCxnSpPr>
        <p:spPr>
          <a:xfrm>
            <a:off x="2525640" y="3677234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2722873" y="3684278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1" name="Flussdiagramm: Magnetplattenspeicher 50"/>
          <p:cNvSpPr/>
          <p:nvPr/>
        </p:nvSpPr>
        <p:spPr>
          <a:xfrm>
            <a:off x="5880905" y="3994375"/>
            <a:ext cx="1264544" cy="420986"/>
          </a:xfrm>
          <a:prstGeom prst="flowChartMagneticDisk">
            <a:avLst/>
          </a:prstGeom>
          <a:solidFill>
            <a:srgbClr val="1BA12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350" dirty="0" smtClean="0"/>
              <a:t>Daten (aktiv)</a:t>
            </a:r>
            <a:endParaRPr lang="de-DE" sz="1350" dirty="0"/>
          </a:p>
        </p:txBody>
      </p:sp>
      <p:cxnSp>
        <p:nvCxnSpPr>
          <p:cNvPr id="52" name="Gerade Verbindung mit Pfeil 51"/>
          <p:cNvCxnSpPr/>
          <p:nvPr/>
        </p:nvCxnSpPr>
        <p:spPr>
          <a:xfrm>
            <a:off x="6505502" y="3705862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6702735" y="3712906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6491788" y="2939559"/>
            <a:ext cx="1" cy="2301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672993" y="2946429"/>
            <a:ext cx="309856" cy="216024"/>
          </a:xfrm>
          <a:prstGeom prst="ellipse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58" name="Gerade Verbindung mit Pfeil 57"/>
          <p:cNvCxnSpPr>
            <a:endCxn id="14" idx="0"/>
          </p:cNvCxnSpPr>
          <p:nvPr/>
        </p:nvCxnSpPr>
        <p:spPr>
          <a:xfrm>
            <a:off x="5974967" y="2136303"/>
            <a:ext cx="529426" cy="1537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14" idx="1"/>
          </p:cNvCxnSpPr>
          <p:nvPr/>
        </p:nvCxnSpPr>
        <p:spPr>
          <a:xfrm flipH="1" flipV="1">
            <a:off x="3716068" y="2579278"/>
            <a:ext cx="1632422" cy="938"/>
          </a:xfrm>
          <a:prstGeom prst="straightConnector1">
            <a:avLst/>
          </a:prstGeom>
          <a:ln w="34925">
            <a:solidFill>
              <a:srgbClr val="1BA12B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367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Messung 8kB Datenblöcke mit 80 VMs und </a:t>
            </a:r>
            <a:br>
              <a:rPr lang="de-DE" sz="2000" dirty="0" smtClean="0"/>
            </a:br>
            <a:r>
              <a:rPr lang="de-DE" sz="2000" dirty="0" smtClean="0"/>
              <a:t>30% Schreibrate: 240k IOPS und geringe Latenz</a:t>
            </a:r>
            <a:endParaRPr lang="de-DE" sz="20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659" y="937244"/>
            <a:ext cx="6244558" cy="3952014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9343" y="1707654"/>
            <a:ext cx="1094601" cy="137006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0809" y="3363838"/>
            <a:ext cx="2151671" cy="103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22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prechpartner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1419622"/>
            <a:ext cx="1116000" cy="1116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2859782"/>
            <a:ext cx="1080000" cy="1147085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546963" y="2931790"/>
            <a:ext cx="26440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Heiko Jung</a:t>
            </a:r>
          </a:p>
          <a:p>
            <a:r>
              <a:rPr lang="de-DE" dirty="0" smtClean="0">
                <a:hlinkClick r:id="rId4"/>
              </a:rPr>
              <a:t>Heiko.Jung@fujitsu.com</a:t>
            </a:r>
            <a:endParaRPr lang="de-DE" dirty="0" smtClean="0"/>
          </a:p>
          <a:p>
            <a:r>
              <a:rPr lang="de-DE" dirty="0"/>
              <a:t>+49 30 536036516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464131" y="1491630"/>
            <a:ext cx="31431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Florian Frimmel</a:t>
            </a:r>
            <a:endParaRPr lang="de-DE" dirty="0" smtClean="0"/>
          </a:p>
          <a:p>
            <a:r>
              <a:rPr lang="de-DE" dirty="0" smtClean="0">
                <a:hlinkClick r:id="rId5"/>
              </a:rPr>
              <a:t>Florian.Frimmel@fujitsu.com</a:t>
            </a:r>
            <a:endParaRPr lang="de-DE" dirty="0" smtClean="0"/>
          </a:p>
          <a:p>
            <a:r>
              <a:rPr lang="de-DE" dirty="0"/>
              <a:t>+</a:t>
            </a:r>
            <a:r>
              <a:rPr lang="de-DE" dirty="0" smtClean="0"/>
              <a:t>49 821 7900321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83492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7438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ordnung HCI Lösungen Microsoft</a:t>
            </a:r>
            <a:br>
              <a:rPr lang="de-DE" dirty="0" smtClean="0"/>
            </a:br>
            <a:r>
              <a:rPr lang="de-DE" sz="1800" dirty="0" smtClean="0"/>
              <a:t>PRIMEFLEX Azure Stack HCI vs. </a:t>
            </a:r>
            <a:r>
              <a:rPr lang="de-DE" sz="1800" dirty="0"/>
              <a:t>PRIMEFLEX Storage </a:t>
            </a:r>
            <a:r>
              <a:rPr lang="de-DE" sz="1800" dirty="0" smtClean="0"/>
              <a:t>Spaces </a:t>
            </a:r>
            <a:r>
              <a:rPr lang="de-DE" sz="1800" dirty="0" err="1" smtClean="0"/>
              <a:t>Direct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250825" y="1131590"/>
            <a:ext cx="8641655" cy="36724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00210" y="2409150"/>
            <a:ext cx="2592288" cy="19628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FUJITSU </a:t>
            </a:r>
          </a:p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Multi-Cloud </a:t>
            </a:r>
            <a:r>
              <a:rPr lang="en-US" sz="1100" b="1" dirty="0">
                <a:solidFill>
                  <a:srgbClr val="FF0000"/>
                </a:solidFill>
                <a:latin typeface="Fujitsu Sans" panose="020B0404060202020204" pitchFamily="34" charset="0"/>
              </a:rPr>
              <a:t>Managed Services for Microsoft Azure</a:t>
            </a:r>
            <a:endParaRPr lang="en-US" sz="1100" b="1" dirty="0" smtClean="0">
              <a:solidFill>
                <a:srgbClr val="FF0000"/>
              </a:solidFill>
              <a:latin typeface="Fujitsu Sans" panose="020B040406020202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272798" y="2409150"/>
            <a:ext cx="2592288" cy="19628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FUJITSU </a:t>
            </a:r>
          </a:p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PRIMEFLEX for </a:t>
            </a:r>
          </a:p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Microsoft Azure Stack HCI</a:t>
            </a:r>
            <a:endParaRPr lang="en-US" sz="1100" b="1" dirty="0">
              <a:solidFill>
                <a:srgbClr val="FF0000"/>
              </a:solidFill>
              <a:latin typeface="Fujitsu Sans" panose="020B040406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6145386" y="2409150"/>
            <a:ext cx="2592288" cy="19628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FUJITSU </a:t>
            </a:r>
          </a:p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PRIMEFLEX for</a:t>
            </a:r>
          </a:p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Fujitsu Sans" panose="020B0404060202020204" pitchFamily="34" charset="0"/>
              </a:rPr>
              <a:t>Microsoft Storage Spaces Direct</a:t>
            </a:r>
            <a:endParaRPr lang="en-US" sz="1100" b="1" dirty="0">
              <a:solidFill>
                <a:srgbClr val="FF0000"/>
              </a:solidFill>
              <a:latin typeface="Fujitsu Sans" panose="020B040406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00210" y="1275606"/>
            <a:ext cx="259228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Fujitsu Sans" panose="020B0404060202020204" pitchFamily="34" charset="0"/>
              </a:rPr>
              <a:t>Public Cloud</a:t>
            </a:r>
          </a:p>
          <a:p>
            <a:endParaRPr lang="en-US" sz="1200" b="1" dirty="0" smtClean="0">
              <a:latin typeface="Fujitsu Sans" panose="020B0404060202020204" pitchFamily="34" charset="0"/>
            </a:endParaRPr>
          </a:p>
          <a:p>
            <a:r>
              <a:rPr lang="de-DE" sz="900" dirty="0">
                <a:latin typeface="Fujitsu Sans" panose="020B0404060202020204" pitchFamily="34" charset="0"/>
              </a:rPr>
              <a:t>Erstellen und Ausführen von Anwendungen mit mehr als 100 Cloud-Diensten in 54 Regionen weltweit.</a:t>
            </a:r>
            <a:endParaRPr lang="en-US" sz="900" dirty="0">
              <a:latin typeface="Fujitsu Sans" panose="020B040406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272798" y="1288613"/>
            <a:ext cx="25922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latin typeface="Fujitsu Sans" panose="020B0404060202020204" pitchFamily="34" charset="0"/>
              </a:rPr>
              <a:t>Hybride</a:t>
            </a:r>
            <a:r>
              <a:rPr lang="en-US" sz="1200" b="1" dirty="0" smtClean="0">
                <a:latin typeface="Fujitsu Sans" panose="020B0404060202020204" pitchFamily="34" charset="0"/>
              </a:rPr>
              <a:t> Cloud</a:t>
            </a:r>
          </a:p>
          <a:p>
            <a:endParaRPr lang="en-US" sz="1200" b="1" dirty="0" smtClean="0">
              <a:latin typeface="Fujitsu Sans" panose="020B0404060202020204" pitchFamily="34" charset="0"/>
            </a:endParaRPr>
          </a:p>
          <a:p>
            <a:r>
              <a:rPr lang="de-DE" sz="900" dirty="0">
                <a:latin typeface="Fujitsu Sans" panose="020B0404060202020204" pitchFamily="34" charset="0"/>
              </a:rPr>
              <a:t>Führen Sie virtualisierte </a:t>
            </a:r>
            <a:r>
              <a:rPr lang="de-DE" sz="900" dirty="0" err="1">
                <a:latin typeface="Fujitsu Sans" panose="020B0404060202020204" pitchFamily="34" charset="0"/>
              </a:rPr>
              <a:t>Workloads</a:t>
            </a:r>
            <a:r>
              <a:rPr lang="de-DE" sz="900" dirty="0">
                <a:latin typeface="Fujitsu Sans" panose="020B0404060202020204" pitchFamily="34" charset="0"/>
              </a:rPr>
              <a:t> aus und nutzen Sie hybride Cloud-Dienste in einer lokalen hyperkonvergenten Infrastruktur mit Cloud-Verbindung.</a:t>
            </a:r>
            <a:endParaRPr lang="en-US" sz="900" dirty="0">
              <a:latin typeface="Fujitsu Sans" panose="020B040406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145930" y="1275606"/>
            <a:ext cx="259228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latin typeface="Fujitsu Sans" panose="020B0404060202020204" pitchFamily="34" charset="0"/>
              </a:rPr>
              <a:t>Virtualisierte</a:t>
            </a:r>
            <a:r>
              <a:rPr lang="en-US" sz="1200" b="1" dirty="0" smtClean="0">
                <a:latin typeface="Fujitsu Sans" panose="020B0404060202020204" pitchFamily="34" charset="0"/>
              </a:rPr>
              <a:t> Apps on-premises</a:t>
            </a:r>
          </a:p>
          <a:p>
            <a:endParaRPr lang="en-US" sz="1200" b="1" dirty="0" smtClean="0">
              <a:latin typeface="Fujitsu Sans" panose="020B0404060202020204" pitchFamily="34" charset="0"/>
            </a:endParaRPr>
          </a:p>
          <a:p>
            <a:r>
              <a:rPr lang="de-DE" sz="900" dirty="0">
                <a:latin typeface="Fujitsu Sans" panose="020B0404060202020204" pitchFamily="34" charset="0"/>
              </a:rPr>
              <a:t>Führen Sie virtuelle Maschinen auf hyperkonvergenten Systemen aus, die auf Windows Server 2019-fähiger HCI basieren.</a:t>
            </a:r>
            <a:endParaRPr lang="en-US" sz="900" dirty="0">
              <a:latin typeface="Fujitsu Sans" panose="020B040406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11560" y="3939902"/>
            <a:ext cx="2232248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  <a:latin typeface="Fujitsu Sans" panose="020B0404060202020204" pitchFamily="34" charset="0"/>
              </a:rPr>
              <a:t>Azure hardware</a:t>
            </a:r>
          </a:p>
        </p:txBody>
      </p:sp>
      <p:sp>
        <p:nvSpPr>
          <p:cNvPr id="21" name="Rechteck 20"/>
          <p:cNvSpPr/>
          <p:nvPr/>
        </p:nvSpPr>
        <p:spPr>
          <a:xfrm>
            <a:off x="611560" y="3474600"/>
            <a:ext cx="2232248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  <a:latin typeface="Fujitsu Sans" panose="020B0404060202020204" pitchFamily="34" charset="0"/>
              </a:rPr>
              <a:t>Cloud compute, storage, networking</a:t>
            </a:r>
          </a:p>
        </p:txBody>
      </p:sp>
      <p:sp>
        <p:nvSpPr>
          <p:cNvPr id="22" name="Rechteck 21"/>
          <p:cNvSpPr/>
          <p:nvPr/>
        </p:nvSpPr>
        <p:spPr>
          <a:xfrm>
            <a:off x="3452818" y="3939902"/>
            <a:ext cx="5079622" cy="360000"/>
          </a:xfrm>
          <a:prstGeom prst="rect">
            <a:avLst/>
          </a:prstGeom>
          <a:solidFill>
            <a:schemeClr val="bg1"/>
          </a:solidFill>
          <a:ln w="28575">
            <a:solidFill>
              <a:srgbClr val="1BA1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050" dirty="0">
              <a:solidFill>
                <a:schemeClr val="tx1"/>
              </a:solidFill>
              <a:latin typeface="Fujitsu Sans" panose="020B0404060202020204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452818" y="3471370"/>
            <a:ext cx="2199301" cy="365516"/>
          </a:xfrm>
          <a:prstGeom prst="rect">
            <a:avLst/>
          </a:prstGeom>
          <a:solidFill>
            <a:schemeClr val="bg1"/>
          </a:solidFill>
          <a:ln w="28575">
            <a:solidFill>
              <a:srgbClr val="1BA1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Fujitsu Sans" panose="020B0404060202020204" pitchFamily="34" charset="0"/>
              </a:rPr>
              <a:t>Azure Stack HCI </a:t>
            </a:r>
            <a:r>
              <a:rPr lang="en-US" sz="1050" dirty="0" smtClean="0">
                <a:solidFill>
                  <a:schemeClr val="tx1"/>
                </a:solidFill>
                <a:latin typeface="Fujitsu Sans" panose="020B0404060202020204" pitchFamily="34" charset="0"/>
              </a:rPr>
              <a:t>20H2</a:t>
            </a:r>
            <a:endParaRPr lang="en-US" sz="1050" dirty="0">
              <a:solidFill>
                <a:schemeClr val="tx1"/>
              </a:solidFill>
              <a:latin typeface="Fujitsu Sans" panose="020B0404060202020204" pitchFamily="34" charset="0"/>
            </a:endParaRPr>
          </a:p>
          <a:p>
            <a:pPr algn="ctr"/>
            <a:r>
              <a:rPr lang="en-US" sz="1050" dirty="0">
                <a:solidFill>
                  <a:schemeClr val="tx1"/>
                </a:solidFill>
                <a:latin typeface="Fujitsu Sans" panose="020B0404060202020204" pitchFamily="34" charset="0"/>
              </a:rPr>
              <a:t>(Hyper-V, S2D, SDN)</a:t>
            </a:r>
          </a:p>
        </p:txBody>
      </p:sp>
      <p:cxnSp>
        <p:nvCxnSpPr>
          <p:cNvPr id="13" name="Gerader Verbinder 12"/>
          <p:cNvCxnSpPr/>
          <p:nvPr/>
        </p:nvCxnSpPr>
        <p:spPr>
          <a:xfrm>
            <a:off x="3272798" y="4583566"/>
            <a:ext cx="54648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flipV="1">
            <a:off x="3275856" y="4439550"/>
            <a:ext cx="0" cy="14401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flipV="1">
            <a:off x="8748464" y="4439550"/>
            <a:ext cx="0" cy="14401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5538819" y="4542388"/>
            <a:ext cx="8915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latin typeface="Fujitsu Sans" panose="020B0404060202020204" pitchFamily="34" charset="0"/>
              </a:rPr>
              <a:t>On-premises</a:t>
            </a:r>
            <a:endParaRPr lang="en-US" sz="1050" dirty="0">
              <a:latin typeface="Fujitsu Sans" panose="020B0404060202020204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316665" y="3471370"/>
            <a:ext cx="2199301" cy="360000"/>
          </a:xfrm>
          <a:prstGeom prst="rect">
            <a:avLst/>
          </a:prstGeom>
          <a:solidFill>
            <a:schemeClr val="bg1"/>
          </a:solidFill>
          <a:ln w="28575">
            <a:solidFill>
              <a:srgbClr val="1BA1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Fujitsu Sans" panose="020B0404060202020204" pitchFamily="34" charset="0"/>
              </a:rPr>
              <a:t>Windows Server 2019-enabled HCI (Hyper-V, S2D, SDN)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9349" y="3957933"/>
            <a:ext cx="1245333" cy="312597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5046" y="3957930"/>
            <a:ext cx="1245333" cy="312597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3254" y="3957934"/>
            <a:ext cx="1245333" cy="312597"/>
          </a:xfrm>
          <a:prstGeom prst="rect">
            <a:avLst/>
          </a:prstGeom>
        </p:spPr>
      </p:pic>
      <p:sp>
        <p:nvSpPr>
          <p:cNvPr id="6" name="Pfeil nach links 5"/>
          <p:cNvSpPr/>
          <p:nvPr/>
        </p:nvSpPr>
        <p:spPr>
          <a:xfrm>
            <a:off x="2051720" y="3003798"/>
            <a:ext cx="6624736" cy="365921"/>
          </a:xfrm>
          <a:prstGeom prst="leftArrow">
            <a:avLst/>
          </a:prstGeom>
          <a:pattFill prst="pct50">
            <a:fgClr>
              <a:srgbClr val="00B050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6360679" y="3621443"/>
            <a:ext cx="442838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4000" dirty="0" smtClean="0"/>
              <a:t>…</a:t>
            </a:r>
            <a:endParaRPr lang="de-DE" sz="4000" dirty="0"/>
          </a:p>
        </p:txBody>
      </p:sp>
      <p:sp>
        <p:nvSpPr>
          <p:cNvPr id="36" name="Rechteck 35"/>
          <p:cNvSpPr/>
          <p:nvPr/>
        </p:nvSpPr>
        <p:spPr>
          <a:xfrm>
            <a:off x="3444835" y="2994526"/>
            <a:ext cx="2186695" cy="360000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 err="1" smtClean="0">
                <a:solidFill>
                  <a:schemeClr val="tx1"/>
                </a:solidFill>
                <a:latin typeface="Fujitsu Sans" panose="020B0404060202020204" pitchFamily="34" charset="0"/>
              </a:rPr>
              <a:t>Eingebaute</a:t>
            </a:r>
            <a:r>
              <a:rPr lang="en-US" sz="1050" dirty="0" smtClean="0">
                <a:solidFill>
                  <a:schemeClr val="tx1"/>
                </a:solidFill>
                <a:latin typeface="Fujitsu Sans" panose="020B0404060202020204" pitchFamily="34" charset="0"/>
              </a:rPr>
              <a:t> </a:t>
            </a:r>
            <a:r>
              <a:rPr lang="en-US" sz="1050" dirty="0" err="1" smtClean="0">
                <a:solidFill>
                  <a:schemeClr val="tx1"/>
                </a:solidFill>
                <a:latin typeface="Fujitsu Sans" panose="020B0404060202020204" pitchFamily="34" charset="0"/>
              </a:rPr>
              <a:t>Hybridfunktionen</a:t>
            </a:r>
            <a:endParaRPr lang="en-US" sz="1050" dirty="0">
              <a:solidFill>
                <a:schemeClr val="tx1"/>
              </a:solidFill>
              <a:latin typeface="Fujitsu Sans" panose="020B0404060202020204" pitchFamily="34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6325406" y="3003798"/>
            <a:ext cx="2207034" cy="365921"/>
          </a:xfrm>
          <a:prstGeom prst="rect">
            <a:avLst/>
          </a:prstGeom>
          <a:solidFill>
            <a:schemeClr val="bg1"/>
          </a:solidFill>
          <a:ln w="28575">
            <a:solidFill>
              <a:srgbClr val="1BA1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50" dirty="0" err="1">
                <a:solidFill>
                  <a:schemeClr val="tx1"/>
                </a:solidFill>
                <a:latin typeface="Fujitsu Sans" panose="020B0404060202020204" pitchFamily="34" charset="0"/>
              </a:rPr>
              <a:t>Hybridfunktionen</a:t>
            </a:r>
            <a:r>
              <a:rPr lang="en-US" sz="1050" dirty="0">
                <a:solidFill>
                  <a:schemeClr val="tx1"/>
                </a:solidFill>
                <a:latin typeface="Fujitsu Sans" panose="020B0404060202020204" pitchFamily="34" charset="0"/>
              </a:rPr>
              <a:t> (optional)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9652" y="1237776"/>
            <a:ext cx="1224136" cy="412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8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Fujitsu Sans" panose="020B0404060202020204" pitchFamily="34" charset="0"/>
              </a:rPr>
              <a:t>Level Up mit Fujitsu PRIMEFLEX </a:t>
            </a:r>
            <a:endParaRPr lang="de-DE" dirty="0">
              <a:latin typeface="Fujitsu Sans" panose="020B040406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447111" y="2084972"/>
            <a:ext cx="288056" cy="2232000"/>
            <a:chOff x="2481138" y="2031690"/>
            <a:chExt cx="288056" cy="2232000"/>
          </a:xfrm>
        </p:grpSpPr>
        <p:cxnSp>
          <p:nvCxnSpPr>
            <p:cNvPr id="11" name="Gerade Verbindung 49"/>
            <p:cNvCxnSpPr/>
            <p:nvPr>
              <p:custDataLst>
                <p:tags r:id="rId19"/>
              </p:custDataLst>
            </p:nvPr>
          </p:nvCxnSpPr>
          <p:spPr bwMode="gray">
            <a:xfrm flipV="1">
              <a:off x="2625807" y="2031690"/>
              <a:ext cx="0" cy="2232000"/>
            </a:xfrm>
            <a:prstGeom prst="line">
              <a:avLst/>
            </a:prstGeom>
            <a:ln w="6350" cap="rnd">
              <a:solidFill>
                <a:schemeClr val="tx2"/>
              </a:solidFill>
              <a:prstDash val="sysDot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50"/>
            <p:cNvGrpSpPr/>
            <p:nvPr>
              <p:custDataLst>
                <p:tags r:id="rId20"/>
              </p:custDataLst>
            </p:nvPr>
          </p:nvGrpSpPr>
          <p:grpSpPr bwMode="gray">
            <a:xfrm>
              <a:off x="2481138" y="3003890"/>
              <a:ext cx="288056" cy="288056"/>
              <a:chOff x="1950744" y="1599644"/>
              <a:chExt cx="216000" cy="216000"/>
            </a:xfrm>
          </p:grpSpPr>
          <p:sp>
            <p:nvSpPr>
              <p:cNvPr id="19" name="Ellipse 51"/>
              <p:cNvSpPr/>
              <p:nvPr/>
            </p:nvSpPr>
            <p:spPr bwMode="gray">
              <a:xfrm rot="16200000">
                <a:off x="1950744" y="159964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" name="Abgerundetes Rechteck 5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2027571" y="1654609"/>
                <a:ext cx="72000" cy="115726"/>
              </a:xfrm>
              <a:custGeom>
                <a:avLst/>
                <a:gdLst/>
                <a:ahLst/>
                <a:cxnLst/>
                <a:rect l="l" t="t" r="r" b="b"/>
                <a:pathLst>
                  <a:path w="916818" h="1473603">
                    <a:moveTo>
                      <a:pt x="180042" y="0"/>
                    </a:moveTo>
                    <a:lnTo>
                      <a:pt x="247784" y="13181"/>
                    </a:lnTo>
                    <a:lnTo>
                      <a:pt x="307335" y="52726"/>
                    </a:lnTo>
                    <a:lnTo>
                      <a:pt x="864094" y="609484"/>
                    </a:lnTo>
                    <a:lnTo>
                      <a:pt x="903640" y="669041"/>
                    </a:lnTo>
                    <a:lnTo>
                      <a:pt x="916818" y="736787"/>
                    </a:lnTo>
                    <a:lnTo>
                      <a:pt x="903643" y="804538"/>
                    </a:lnTo>
                    <a:lnTo>
                      <a:pt x="864095" y="864097"/>
                    </a:lnTo>
                    <a:lnTo>
                      <a:pt x="307314" y="1420877"/>
                    </a:lnTo>
                    <a:lnTo>
                      <a:pt x="247763" y="1460422"/>
                    </a:lnTo>
                    <a:cubicBezTo>
                      <a:pt x="182751" y="1486785"/>
                      <a:pt x="105454" y="1473604"/>
                      <a:pt x="52727" y="1420877"/>
                    </a:cubicBezTo>
                    <a:cubicBezTo>
                      <a:pt x="17576" y="1385726"/>
                      <a:pt x="0" y="1339655"/>
                      <a:pt x="0" y="1293584"/>
                    </a:cubicBezTo>
                    <a:cubicBezTo>
                      <a:pt x="0" y="1270549"/>
                      <a:pt x="4394" y="1247513"/>
                      <a:pt x="13182" y="1225843"/>
                    </a:cubicBezTo>
                    <a:cubicBezTo>
                      <a:pt x="21970" y="1204172"/>
                      <a:pt x="35151" y="1183867"/>
                      <a:pt x="52727" y="1166291"/>
                    </a:cubicBezTo>
                    <a:lnTo>
                      <a:pt x="482227" y="736791"/>
                    </a:lnTo>
                    <a:lnTo>
                      <a:pt x="52748" y="307313"/>
                    </a:lnTo>
                    <a:cubicBezTo>
                      <a:pt x="17597" y="272162"/>
                      <a:pt x="21" y="226091"/>
                      <a:pt x="21" y="180020"/>
                    </a:cubicBezTo>
                    <a:cubicBezTo>
                      <a:pt x="21" y="156984"/>
                      <a:pt x="4415" y="133948"/>
                      <a:pt x="13203" y="112278"/>
                    </a:cubicBezTo>
                    <a:cubicBezTo>
                      <a:pt x="21991" y="90607"/>
                      <a:pt x="35172" y="70302"/>
                      <a:pt x="52748" y="52726"/>
                    </a:cubicBezTo>
                    <a:cubicBezTo>
                      <a:pt x="87899" y="17575"/>
                      <a:pt x="133970" y="0"/>
                      <a:pt x="18004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2375756" y="1577469"/>
            <a:ext cx="2415170" cy="3154521"/>
            <a:chOff x="2375756" y="1577469"/>
            <a:chExt cx="2415170" cy="3154521"/>
          </a:xfrm>
        </p:grpSpPr>
        <p:grpSp>
          <p:nvGrpSpPr>
            <p:cNvPr id="34" name="Group 33"/>
            <p:cNvGrpSpPr/>
            <p:nvPr/>
          </p:nvGrpSpPr>
          <p:grpSpPr>
            <a:xfrm>
              <a:off x="3295341" y="1577469"/>
              <a:ext cx="576000" cy="576000"/>
              <a:chOff x="3347864" y="1607123"/>
              <a:chExt cx="576000" cy="576000"/>
            </a:xfrm>
          </p:grpSpPr>
          <p:sp>
            <p:nvSpPr>
              <p:cNvPr id="35" name="Ellipse 34"/>
              <p:cNvSpPr/>
              <p:nvPr>
                <p:custDataLst>
                  <p:tags r:id="rId16"/>
                </p:custDataLst>
              </p:nvPr>
            </p:nvSpPr>
            <p:spPr bwMode="gray">
              <a:xfrm rot="16200000">
                <a:off x="3347864" y="1607123"/>
                <a:ext cx="576000" cy="576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Ellipse 35"/>
              <p:cNvSpPr/>
              <p:nvPr>
                <p:custDataLst>
                  <p:tags r:id="rId17"/>
                </p:custDataLst>
              </p:nvPr>
            </p:nvSpPr>
            <p:spPr bwMode="gray">
              <a:xfrm rot="16200000">
                <a:off x="3383860" y="1643063"/>
                <a:ext cx="504000" cy="504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Ellipse 38"/>
              <p:cNvSpPr/>
              <p:nvPr>
                <p:custDataLst>
                  <p:tags r:id="rId18"/>
                </p:custDataLst>
              </p:nvPr>
            </p:nvSpPr>
            <p:spPr bwMode="gray">
              <a:xfrm>
                <a:off x="3419856" y="1679067"/>
                <a:ext cx="432000" cy="432000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rPr>
                  <a:t>2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9241" y="2600247"/>
              <a:ext cx="1248201" cy="1394189"/>
            </a:xfrm>
            <a:prstGeom prst="rect">
              <a:avLst/>
            </a:prstGeom>
          </p:spPr>
        </p:pic>
        <p:sp>
          <p:nvSpPr>
            <p:cNvPr id="49" name="Title 1"/>
            <p:cNvSpPr txBox="1">
              <a:spLocks/>
            </p:cNvSpPr>
            <p:nvPr/>
          </p:nvSpPr>
          <p:spPr bwMode="gray">
            <a:xfrm>
              <a:off x="2375756" y="3961037"/>
              <a:ext cx="2415170" cy="7709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tabLst>
                  <a:tab pos="2871788" algn="l"/>
                  <a:tab pos="3676650" algn="l"/>
                </a:tabLst>
                <a:defRPr kumimoji="1" lang="de-DE" altLang="ja-JP" sz="2800" kern="1200">
                  <a:solidFill>
                    <a:schemeClr val="tx1"/>
                  </a:solidFill>
                  <a:latin typeface="Fujitsu Sans" panose="020B040406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71788" algn="l"/>
                  <a:tab pos="3676650" algn="l"/>
                </a:tabLst>
                <a:defRPr/>
              </a:pPr>
              <a:r>
                <a:rPr kumimoji="1" lang="de-DE" altLang="ja-JP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rPr>
                <a:t>Fujitsu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71788" algn="l"/>
                  <a:tab pos="3676650" algn="l"/>
                </a:tabLst>
                <a:defRPr/>
              </a:pPr>
              <a:r>
                <a:rPr kumimoji="1" lang="de-DE" altLang="ja-JP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rPr>
                <a:t>Integrated Syste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71788" algn="l"/>
                  <a:tab pos="3676650" algn="l"/>
                </a:tabLst>
                <a:defRPr/>
              </a:pPr>
              <a:r>
                <a:rPr kumimoji="1" lang="de-DE" altLang="ja-JP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rPr>
                <a:t>PRIMEFLEX</a:t>
              </a:r>
              <a:endParaRPr kumimoji="1" lang="de-DE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467980" y="2085448"/>
            <a:ext cx="288056" cy="2232000"/>
            <a:chOff x="2519772" y="2031690"/>
            <a:chExt cx="288056" cy="2232000"/>
          </a:xfrm>
        </p:grpSpPr>
        <p:cxnSp>
          <p:nvCxnSpPr>
            <p:cNvPr id="30" name="Gerade Verbindung 49"/>
            <p:cNvCxnSpPr/>
            <p:nvPr>
              <p:custDataLst>
                <p:tags r:id="rId13"/>
              </p:custDataLst>
            </p:nvPr>
          </p:nvCxnSpPr>
          <p:spPr bwMode="gray">
            <a:xfrm flipV="1">
              <a:off x="2663788" y="2031690"/>
              <a:ext cx="0" cy="2232000"/>
            </a:xfrm>
            <a:prstGeom prst="line">
              <a:avLst/>
            </a:prstGeom>
            <a:ln w="6350" cap="rnd">
              <a:solidFill>
                <a:schemeClr val="tx2"/>
              </a:solidFill>
              <a:prstDash val="sysDot"/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uppieren 50"/>
            <p:cNvGrpSpPr/>
            <p:nvPr>
              <p:custDataLst>
                <p:tags r:id="rId14"/>
              </p:custDataLst>
            </p:nvPr>
          </p:nvGrpSpPr>
          <p:grpSpPr bwMode="gray">
            <a:xfrm>
              <a:off x="2519772" y="3003890"/>
              <a:ext cx="288056" cy="288056"/>
              <a:chOff x="1979712" y="1599644"/>
              <a:chExt cx="216000" cy="216000"/>
            </a:xfrm>
          </p:grpSpPr>
          <p:sp>
            <p:nvSpPr>
              <p:cNvPr id="32" name="Ellipse 51"/>
              <p:cNvSpPr/>
              <p:nvPr/>
            </p:nvSpPr>
            <p:spPr bwMode="gray">
              <a:xfrm rot="16200000">
                <a:off x="1979712" y="159964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Abgerundetes Rechteck 5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2062261" y="1655054"/>
                <a:ext cx="72000" cy="115726"/>
              </a:xfrm>
              <a:custGeom>
                <a:avLst/>
                <a:gdLst/>
                <a:ahLst/>
                <a:cxnLst/>
                <a:rect l="l" t="t" r="r" b="b"/>
                <a:pathLst>
                  <a:path w="916818" h="1473603">
                    <a:moveTo>
                      <a:pt x="180042" y="0"/>
                    </a:moveTo>
                    <a:lnTo>
                      <a:pt x="247784" y="13181"/>
                    </a:lnTo>
                    <a:lnTo>
                      <a:pt x="307335" y="52726"/>
                    </a:lnTo>
                    <a:lnTo>
                      <a:pt x="864094" y="609484"/>
                    </a:lnTo>
                    <a:lnTo>
                      <a:pt x="903640" y="669041"/>
                    </a:lnTo>
                    <a:lnTo>
                      <a:pt x="916818" y="736787"/>
                    </a:lnTo>
                    <a:lnTo>
                      <a:pt x="903643" y="804538"/>
                    </a:lnTo>
                    <a:lnTo>
                      <a:pt x="864095" y="864097"/>
                    </a:lnTo>
                    <a:lnTo>
                      <a:pt x="307314" y="1420877"/>
                    </a:lnTo>
                    <a:lnTo>
                      <a:pt x="247763" y="1460422"/>
                    </a:lnTo>
                    <a:cubicBezTo>
                      <a:pt x="182751" y="1486785"/>
                      <a:pt x="105454" y="1473604"/>
                      <a:pt x="52727" y="1420877"/>
                    </a:cubicBezTo>
                    <a:cubicBezTo>
                      <a:pt x="17576" y="1385726"/>
                      <a:pt x="0" y="1339655"/>
                      <a:pt x="0" y="1293584"/>
                    </a:cubicBezTo>
                    <a:cubicBezTo>
                      <a:pt x="0" y="1270549"/>
                      <a:pt x="4394" y="1247513"/>
                      <a:pt x="13182" y="1225843"/>
                    </a:cubicBezTo>
                    <a:cubicBezTo>
                      <a:pt x="21970" y="1204172"/>
                      <a:pt x="35151" y="1183867"/>
                      <a:pt x="52727" y="1166291"/>
                    </a:cubicBezTo>
                    <a:lnTo>
                      <a:pt x="482227" y="736791"/>
                    </a:lnTo>
                    <a:lnTo>
                      <a:pt x="52748" y="307313"/>
                    </a:lnTo>
                    <a:cubicBezTo>
                      <a:pt x="17597" y="272162"/>
                      <a:pt x="21" y="226091"/>
                      <a:pt x="21" y="180020"/>
                    </a:cubicBezTo>
                    <a:cubicBezTo>
                      <a:pt x="21" y="156984"/>
                      <a:pt x="4415" y="133948"/>
                      <a:pt x="13203" y="112278"/>
                    </a:cubicBezTo>
                    <a:cubicBezTo>
                      <a:pt x="21991" y="90607"/>
                      <a:pt x="35172" y="70302"/>
                      <a:pt x="52748" y="52726"/>
                    </a:cubicBezTo>
                    <a:cubicBezTo>
                      <a:pt x="87899" y="17575"/>
                      <a:pt x="133970" y="0"/>
                      <a:pt x="18004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4" name="Group 23"/>
          <p:cNvGrpSpPr/>
          <p:nvPr/>
        </p:nvGrpSpPr>
        <p:grpSpPr>
          <a:xfrm>
            <a:off x="4513895" y="2098046"/>
            <a:ext cx="288056" cy="2232000"/>
            <a:chOff x="2519772" y="2031690"/>
            <a:chExt cx="288056" cy="2232000"/>
          </a:xfrm>
        </p:grpSpPr>
        <p:cxnSp>
          <p:nvCxnSpPr>
            <p:cNvPr id="25" name="Gerade Verbindung 49"/>
            <p:cNvCxnSpPr/>
            <p:nvPr>
              <p:custDataLst>
                <p:tags r:id="rId10"/>
              </p:custDataLst>
            </p:nvPr>
          </p:nvCxnSpPr>
          <p:spPr bwMode="gray">
            <a:xfrm flipV="1">
              <a:off x="2663788" y="2031690"/>
              <a:ext cx="0" cy="2232000"/>
            </a:xfrm>
            <a:prstGeom prst="line">
              <a:avLst/>
            </a:prstGeom>
            <a:ln w="6350" cap="rnd">
              <a:solidFill>
                <a:schemeClr val="tx2"/>
              </a:solidFill>
              <a:prstDash val="sysDot"/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uppieren 50"/>
            <p:cNvGrpSpPr/>
            <p:nvPr>
              <p:custDataLst>
                <p:tags r:id="rId11"/>
              </p:custDataLst>
            </p:nvPr>
          </p:nvGrpSpPr>
          <p:grpSpPr bwMode="gray">
            <a:xfrm>
              <a:off x="2519772" y="3003890"/>
              <a:ext cx="288056" cy="288056"/>
              <a:chOff x="1979712" y="1599644"/>
              <a:chExt cx="216000" cy="216000"/>
            </a:xfrm>
          </p:grpSpPr>
          <p:sp>
            <p:nvSpPr>
              <p:cNvPr id="27" name="Ellipse 51"/>
              <p:cNvSpPr/>
              <p:nvPr/>
            </p:nvSpPr>
            <p:spPr bwMode="gray">
              <a:xfrm rot="16200000">
                <a:off x="1979712" y="1599644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Abgerundetes Rechteck 5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056987" y="1649780"/>
                <a:ext cx="72000" cy="115726"/>
              </a:xfrm>
              <a:custGeom>
                <a:avLst/>
                <a:gdLst/>
                <a:ahLst/>
                <a:cxnLst/>
                <a:rect l="l" t="t" r="r" b="b"/>
                <a:pathLst>
                  <a:path w="916818" h="1473603">
                    <a:moveTo>
                      <a:pt x="180042" y="0"/>
                    </a:moveTo>
                    <a:lnTo>
                      <a:pt x="247784" y="13181"/>
                    </a:lnTo>
                    <a:lnTo>
                      <a:pt x="307335" y="52726"/>
                    </a:lnTo>
                    <a:lnTo>
                      <a:pt x="864094" y="609484"/>
                    </a:lnTo>
                    <a:lnTo>
                      <a:pt x="903640" y="669041"/>
                    </a:lnTo>
                    <a:lnTo>
                      <a:pt x="916818" y="736787"/>
                    </a:lnTo>
                    <a:lnTo>
                      <a:pt x="903643" y="804538"/>
                    </a:lnTo>
                    <a:lnTo>
                      <a:pt x="864095" y="864097"/>
                    </a:lnTo>
                    <a:lnTo>
                      <a:pt x="307314" y="1420877"/>
                    </a:lnTo>
                    <a:lnTo>
                      <a:pt x="247763" y="1460422"/>
                    </a:lnTo>
                    <a:cubicBezTo>
                      <a:pt x="182751" y="1486785"/>
                      <a:pt x="105454" y="1473604"/>
                      <a:pt x="52727" y="1420877"/>
                    </a:cubicBezTo>
                    <a:cubicBezTo>
                      <a:pt x="17576" y="1385726"/>
                      <a:pt x="0" y="1339655"/>
                      <a:pt x="0" y="1293584"/>
                    </a:cubicBezTo>
                    <a:cubicBezTo>
                      <a:pt x="0" y="1270549"/>
                      <a:pt x="4394" y="1247513"/>
                      <a:pt x="13182" y="1225843"/>
                    </a:cubicBezTo>
                    <a:cubicBezTo>
                      <a:pt x="21970" y="1204172"/>
                      <a:pt x="35151" y="1183867"/>
                      <a:pt x="52727" y="1166291"/>
                    </a:cubicBezTo>
                    <a:lnTo>
                      <a:pt x="482227" y="736791"/>
                    </a:lnTo>
                    <a:lnTo>
                      <a:pt x="52748" y="307313"/>
                    </a:lnTo>
                    <a:cubicBezTo>
                      <a:pt x="17597" y="272162"/>
                      <a:pt x="21" y="226091"/>
                      <a:pt x="21" y="180020"/>
                    </a:cubicBezTo>
                    <a:cubicBezTo>
                      <a:pt x="21" y="156984"/>
                      <a:pt x="4415" y="133948"/>
                      <a:pt x="13203" y="112278"/>
                    </a:cubicBezTo>
                    <a:cubicBezTo>
                      <a:pt x="21991" y="90607"/>
                      <a:pt x="35172" y="70302"/>
                      <a:pt x="52748" y="52726"/>
                    </a:cubicBezTo>
                    <a:cubicBezTo>
                      <a:pt x="87899" y="17575"/>
                      <a:pt x="133970" y="0"/>
                      <a:pt x="18004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4453742" y="1550941"/>
            <a:ext cx="2415170" cy="3181049"/>
            <a:chOff x="4453742" y="1550941"/>
            <a:chExt cx="2415170" cy="3181049"/>
          </a:xfrm>
        </p:grpSpPr>
        <p:grpSp>
          <p:nvGrpSpPr>
            <p:cNvPr id="38" name="Group 37"/>
            <p:cNvGrpSpPr/>
            <p:nvPr/>
          </p:nvGrpSpPr>
          <p:grpSpPr>
            <a:xfrm>
              <a:off x="5373327" y="1550941"/>
              <a:ext cx="576000" cy="576000"/>
              <a:chOff x="3347864" y="1607123"/>
              <a:chExt cx="576000" cy="576000"/>
            </a:xfrm>
          </p:grpSpPr>
          <p:sp>
            <p:nvSpPr>
              <p:cNvPr id="39" name="Ellipse 34"/>
              <p:cNvSpPr/>
              <p:nvPr>
                <p:custDataLst>
                  <p:tags r:id="rId7"/>
                </p:custDataLst>
              </p:nvPr>
            </p:nvSpPr>
            <p:spPr bwMode="gray">
              <a:xfrm rot="16200000">
                <a:off x="3347864" y="1607123"/>
                <a:ext cx="576000" cy="576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Ellipse 35"/>
              <p:cNvSpPr/>
              <p:nvPr>
                <p:custDataLst>
                  <p:tags r:id="rId8"/>
                </p:custDataLst>
              </p:nvPr>
            </p:nvSpPr>
            <p:spPr bwMode="gray">
              <a:xfrm rot="16200000">
                <a:off x="3383860" y="1643063"/>
                <a:ext cx="504000" cy="504000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Ellipse 38"/>
              <p:cNvSpPr/>
              <p:nvPr>
                <p:custDataLst>
                  <p:tags r:id="rId9"/>
                </p:custDataLst>
              </p:nvPr>
            </p:nvSpPr>
            <p:spPr bwMode="gray">
              <a:xfrm>
                <a:off x="3419856" y="1679067"/>
                <a:ext cx="432000" cy="432000"/>
              </a:xfrm>
              <a:prstGeom prst="ellips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rPr>
                  <a:t>3</a:t>
                </a:r>
                <a:endPara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0" name="Title 1"/>
            <p:cNvSpPr txBox="1">
              <a:spLocks/>
            </p:cNvSpPr>
            <p:nvPr/>
          </p:nvSpPr>
          <p:spPr bwMode="gray">
            <a:xfrm>
              <a:off x="4453742" y="3961037"/>
              <a:ext cx="2415170" cy="7709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tabLst>
                  <a:tab pos="2871788" algn="l"/>
                  <a:tab pos="3676650" algn="l"/>
                </a:tabLst>
                <a:defRPr kumimoji="1" lang="de-DE" altLang="ja-JP" sz="2800" kern="1200">
                  <a:solidFill>
                    <a:schemeClr val="tx1"/>
                  </a:solidFill>
                  <a:latin typeface="Fujitsu Sans" panose="020B040406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71788" algn="l"/>
                  <a:tab pos="3676650" algn="l"/>
                </a:tabLst>
                <a:defRPr/>
              </a:pPr>
              <a:r>
                <a:rPr kumimoji="1" lang="de-DE" altLang="ja-JP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rPr>
                <a:t>Fujitsu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871788" algn="l"/>
                  <a:tab pos="3676650" algn="l"/>
                </a:tabLst>
                <a:defRPr/>
              </a:pPr>
              <a:r>
                <a:rPr kumimoji="1" lang="de-DE" altLang="ja-JP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rPr>
                <a:t>WebArchitect</a:t>
              </a: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1690" y="2439367"/>
              <a:ext cx="1459274" cy="1459274"/>
            </a:xfrm>
            <a:prstGeom prst="rect">
              <a:avLst/>
            </a:prstGeom>
          </p:spPr>
        </p:pic>
      </p:grpSp>
      <p:sp>
        <p:nvSpPr>
          <p:cNvPr id="54" name="Title 1"/>
          <p:cNvSpPr txBox="1">
            <a:spLocks/>
          </p:cNvSpPr>
          <p:nvPr/>
        </p:nvSpPr>
        <p:spPr bwMode="gray">
          <a:xfrm>
            <a:off x="260169" y="849572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2871788" algn="l"/>
                <a:tab pos="3676650" algn="l"/>
              </a:tabLst>
              <a:defRPr kumimoji="1" lang="de-DE" altLang="ja-JP" sz="2800" kern="1200">
                <a:solidFill>
                  <a:schemeClr val="tx1"/>
                </a:solidFill>
                <a:latin typeface="Fujitsu Sans" panose="020B040406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1788" algn="l"/>
                <a:tab pos="3676650" algn="l"/>
              </a:tabLst>
              <a:defRPr/>
            </a:pP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Kommen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</a:t>
            </a: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Sie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mit </a:t>
            </a: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wenigen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</a:t>
            </a: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Schritten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zu </a:t>
            </a: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genau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der IT, die </a:t>
            </a:r>
            <a:r>
              <a:rPr kumimoji="1" lang="en-US" altLang="ja-JP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Sie</a:t>
            </a:r>
            <a:r>
              <a:rPr kumimoji="1" lang="en-US" altLang="ja-JP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 </a:t>
            </a:r>
            <a:r>
              <a:rPr kumimoji="1" lang="en-US" altLang="ja-JP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" panose="020B0404060202020204" pitchFamily="34" charset="0"/>
                <a:ea typeface="+mj-ea"/>
                <a:cs typeface="+mj-cs"/>
              </a:rPr>
              <a:t>benötigen</a:t>
            </a:r>
            <a:endParaRPr kumimoji="1" lang="en-US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jitsu Sans" panose="020B0404060202020204" pitchFamily="34" charset="0"/>
              <a:ea typeface="+mj-ea"/>
              <a:cs typeface="+mj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15516" y="1580967"/>
            <a:ext cx="2415170" cy="3151023"/>
            <a:chOff x="215516" y="1580967"/>
            <a:chExt cx="2415170" cy="3151023"/>
          </a:xfrm>
        </p:grpSpPr>
        <p:grpSp>
          <p:nvGrpSpPr>
            <p:cNvPr id="53" name="Group 52"/>
            <p:cNvGrpSpPr/>
            <p:nvPr/>
          </p:nvGrpSpPr>
          <p:grpSpPr>
            <a:xfrm>
              <a:off x="215516" y="1580967"/>
              <a:ext cx="2415170" cy="3151023"/>
              <a:chOff x="215516" y="1580967"/>
              <a:chExt cx="2415170" cy="3151023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1135101" y="1580967"/>
                <a:ext cx="576000" cy="576000"/>
                <a:chOff x="3347864" y="1607123"/>
                <a:chExt cx="576000" cy="576000"/>
              </a:xfrm>
            </p:grpSpPr>
            <p:sp>
              <p:nvSpPr>
                <p:cNvPr id="7" name="Ellipse 34"/>
                <p:cNvSpPr/>
                <p:nvPr>
                  <p:custDataLst>
                    <p:tags r:id="rId4"/>
                  </p:custDataLst>
                </p:nvPr>
              </p:nvSpPr>
              <p:spPr bwMode="gray">
                <a:xfrm rot="16200000">
                  <a:off x="3347864" y="1607123"/>
                  <a:ext cx="576000" cy="576000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chemeClr val="tx2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Ellipse 35"/>
                <p:cNvSpPr/>
                <p:nvPr>
                  <p:custDataLst>
                    <p:tags r:id="rId5"/>
                  </p:custDataLst>
                </p:nvPr>
              </p:nvSpPr>
              <p:spPr bwMode="gray">
                <a:xfrm rot="16200000">
                  <a:off x="3383860" y="1643063"/>
                  <a:ext cx="504000" cy="504000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chemeClr val="tx2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Ellipse 38"/>
                <p:cNvSpPr/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3419856" y="1679067"/>
                  <a:ext cx="432000" cy="43200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8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jitsu Sans" panose="020B0404060202020204" pitchFamily="34" charset="0"/>
                      <a:ea typeface="+mn-ea"/>
                      <a:cs typeface="+mn-cs"/>
                    </a:rPr>
                    <a:t>1</a:t>
                  </a:r>
                  <a:endParaRPr kumimoji="0" lang="de-DE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8" name="Title 1"/>
              <p:cNvSpPr txBox="1">
                <a:spLocks/>
              </p:cNvSpPr>
              <p:nvPr/>
            </p:nvSpPr>
            <p:spPr bwMode="gray">
              <a:xfrm>
                <a:off x="215516" y="3961037"/>
                <a:ext cx="2415170" cy="7709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tabLst>
                    <a:tab pos="2871788" algn="l"/>
                    <a:tab pos="3676650" algn="l"/>
                  </a:tabLst>
                  <a:defRPr kumimoji="1" lang="de-DE" altLang="ja-JP" sz="2800" kern="1200">
                    <a:solidFill>
                      <a:schemeClr val="tx1"/>
                    </a:solidFill>
                    <a:latin typeface="Fujitsu Sans" panose="020B0404060202020204" pitchFamily="34" charset="0"/>
                    <a:ea typeface="+mj-ea"/>
                    <a:cs typeface="+mj-cs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871788" algn="l"/>
                    <a:tab pos="3676650" algn="l"/>
                  </a:tabLst>
                  <a:defRPr/>
                </a:pPr>
                <a:r>
                  <a:rPr kumimoji="1" lang="de-DE" altLang="ja-JP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j-ea"/>
                    <a:cs typeface="+mj-cs"/>
                  </a:rPr>
                  <a:t>Indicator-based-Assessment</a:t>
                </a:r>
                <a:endParaRPr kumimoji="1" lang="de-DE" altLang="ja-JP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jitsu Sans" panose="020B0404060202020204" pitchFamily="34" charset="0"/>
                  <a:ea typeface="+mj-ea"/>
                  <a:cs typeface="+mj-cs"/>
                </a:endParaRPr>
              </a:p>
            </p:txBody>
          </p:sp>
        </p:grp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26"/>
            <a:srcRect l="4254" t="63014" r="82967" b="15720"/>
            <a:stretch/>
          </p:blipFill>
          <p:spPr>
            <a:xfrm>
              <a:off x="713428" y="2524757"/>
              <a:ext cx="1371675" cy="1330885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6585322" y="1550941"/>
            <a:ext cx="2415170" cy="3181049"/>
            <a:chOff x="6585322" y="1550941"/>
            <a:chExt cx="2415170" cy="3181049"/>
          </a:xfrm>
        </p:grpSpPr>
        <p:grpSp>
          <p:nvGrpSpPr>
            <p:cNvPr id="13" name="Group 12"/>
            <p:cNvGrpSpPr/>
            <p:nvPr/>
          </p:nvGrpSpPr>
          <p:grpSpPr>
            <a:xfrm>
              <a:off x="6585322" y="1550941"/>
              <a:ext cx="2415170" cy="3181049"/>
              <a:chOff x="6585322" y="1550941"/>
              <a:chExt cx="2415170" cy="3181049"/>
            </a:xfrm>
          </p:grpSpPr>
          <p:grpSp>
            <p:nvGrpSpPr>
              <p:cNvPr id="42" name="Group 41"/>
              <p:cNvGrpSpPr/>
              <p:nvPr/>
            </p:nvGrpSpPr>
            <p:grpSpPr>
              <a:xfrm>
                <a:off x="7504907" y="1550941"/>
                <a:ext cx="576000" cy="576000"/>
                <a:chOff x="3347864" y="1607123"/>
                <a:chExt cx="576000" cy="576000"/>
              </a:xfrm>
            </p:grpSpPr>
            <p:sp>
              <p:nvSpPr>
                <p:cNvPr id="43" name="Ellipse 34"/>
                <p:cNvSpPr/>
                <p:nvPr>
                  <p:custDataLst>
                    <p:tags r:id="rId1"/>
                  </p:custDataLst>
                </p:nvPr>
              </p:nvSpPr>
              <p:spPr bwMode="gray">
                <a:xfrm rot="16200000">
                  <a:off x="3347864" y="1607123"/>
                  <a:ext cx="576000" cy="576000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chemeClr val="tx2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Ellipse 35"/>
                <p:cNvSpPr/>
                <p:nvPr>
                  <p:custDataLst>
                    <p:tags r:id="rId2"/>
                  </p:custDataLst>
                </p:nvPr>
              </p:nvSpPr>
              <p:spPr bwMode="gray">
                <a:xfrm rot="16200000">
                  <a:off x="3383860" y="1643063"/>
                  <a:ext cx="504000" cy="504000"/>
                </a:xfrm>
                <a:prstGeom prst="ellipse">
                  <a:avLst/>
                </a:prstGeom>
                <a:solidFill>
                  <a:schemeClr val="bg1"/>
                </a:solidFill>
                <a:ln w="6350" cap="rnd">
                  <a:solidFill>
                    <a:schemeClr val="tx2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Ellipse 38"/>
                <p:cNvSpPr/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3419856" y="1679067"/>
                  <a:ext cx="432000" cy="432000"/>
                </a:xfrm>
                <a:prstGeom prst="ellipse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8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jitsu Sans" panose="020B0404060202020204" pitchFamily="34" charset="0"/>
                      <a:ea typeface="+mn-ea"/>
                      <a:cs typeface="+mn-cs"/>
                    </a:rPr>
                    <a:t>4</a:t>
                  </a:r>
                  <a:endParaRPr kumimoji="0" lang="de-DE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" name="Title 1"/>
              <p:cNvSpPr txBox="1">
                <a:spLocks/>
              </p:cNvSpPr>
              <p:nvPr/>
            </p:nvSpPr>
            <p:spPr bwMode="gray">
              <a:xfrm>
                <a:off x="6585322" y="3961037"/>
                <a:ext cx="2415170" cy="7709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tabLst>
                    <a:tab pos="2871788" algn="l"/>
                    <a:tab pos="3676650" algn="l"/>
                  </a:tabLst>
                  <a:defRPr kumimoji="1" lang="de-DE" altLang="ja-JP" sz="2800" kern="1200">
                    <a:solidFill>
                      <a:schemeClr val="tx1"/>
                    </a:solidFill>
                    <a:latin typeface="Fujitsu Sans" panose="020B0404060202020204" pitchFamily="34" charset="0"/>
                    <a:ea typeface="+mj-ea"/>
                    <a:cs typeface="+mj-cs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871788" algn="l"/>
                    <a:tab pos="3676650" algn="l"/>
                  </a:tabLst>
                  <a:defRPr/>
                </a:pPr>
                <a:r>
                  <a:rPr kumimoji="1" lang="de-DE" altLang="ja-JP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j-ea"/>
                    <a:cs typeface="+mj-cs"/>
                  </a:rPr>
                  <a:t>Fujitsu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871788" algn="l"/>
                    <a:tab pos="3676650" algn="l"/>
                  </a:tabLst>
                  <a:defRPr/>
                </a:pPr>
                <a:r>
                  <a:rPr kumimoji="1" lang="de-DE" altLang="ja-JP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jitsu Sans" panose="020B0404060202020204" pitchFamily="34" charset="0"/>
                    <a:ea typeface="+mj-ea"/>
                    <a:cs typeface="+mj-cs"/>
                  </a:rPr>
                  <a:t>PRIMEFLEX Services</a:t>
                </a:r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968885" y="2823333"/>
              <a:ext cx="1658256" cy="9185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304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6AFE615-B491-4F7A-A0C3-C335E4F1D1A6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7001793" y="2650529"/>
            <a:ext cx="3261617" cy="2295515"/>
            <a:chOff x="7001793" y="2650529"/>
            <a:chExt cx="3261617" cy="2295515"/>
          </a:xfrm>
        </p:grpSpPr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14864034-654A-4C49-9506-A4ECD1BCB15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8613997" y="2650529"/>
              <a:ext cx="1649413" cy="1649413"/>
            </a:xfrm>
            <a:prstGeom prst="arc">
              <a:avLst>
                <a:gd name="adj1" fmla="val 11100380"/>
                <a:gd name="adj2" fmla="val 14937073"/>
              </a:avLst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Oval 115">
              <a:extLst>
                <a:ext uri="{FF2B5EF4-FFF2-40B4-BE49-F238E27FC236}">
                  <a16:creationId xmlns:a16="http://schemas.microsoft.com/office/drawing/2014/main" id="{D4179DE5-1C8E-48CC-9A03-43706A2D4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39436" y="4056857"/>
              <a:ext cx="201612" cy="2032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Oval 116">
              <a:extLst>
                <a:ext uri="{FF2B5EF4-FFF2-40B4-BE49-F238E27FC236}">
                  <a16:creationId xmlns:a16="http://schemas.microsoft.com/office/drawing/2014/main" id="{1C7B8978-BE00-4D74-9ADF-5D6CC8B81A11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9007698" y="41251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Oval 117">
              <a:extLst>
                <a:ext uri="{FF2B5EF4-FFF2-40B4-BE49-F238E27FC236}">
                  <a16:creationId xmlns:a16="http://schemas.microsoft.com/office/drawing/2014/main" id="{9C58E124-A65A-45B6-8D2D-5E12449327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75948" y="4094957"/>
              <a:ext cx="128587" cy="127000"/>
            </a:xfrm>
            <a:prstGeom prst="ellips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Oval 121">
              <a:extLst>
                <a:ext uri="{FF2B5EF4-FFF2-40B4-BE49-F238E27FC236}">
                  <a16:creationId xmlns:a16="http://schemas.microsoft.com/office/drawing/2014/main" id="{0F90892D-E326-4C7F-877E-BAAA45C52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93336" y="4194969"/>
              <a:ext cx="200025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Oval 122">
              <a:extLst>
                <a:ext uri="{FF2B5EF4-FFF2-40B4-BE49-F238E27FC236}">
                  <a16:creationId xmlns:a16="http://schemas.microsoft.com/office/drawing/2014/main" id="{D2606469-C9AE-4F56-A690-377AFCA856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4263232"/>
              <a:ext cx="66675" cy="666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Oval 123">
              <a:extLst>
                <a:ext uri="{FF2B5EF4-FFF2-40B4-BE49-F238E27FC236}">
                  <a16:creationId xmlns:a16="http://schemas.microsoft.com/office/drawing/2014/main" id="{E81F442A-53E8-4E30-B97F-8031FAE33B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29848" y="4231482"/>
              <a:ext cx="127000" cy="1285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Line 125">
              <a:extLst>
                <a:ext uri="{FF2B5EF4-FFF2-40B4-BE49-F238E27FC236}">
                  <a16:creationId xmlns:a16="http://schemas.microsoft.com/office/drawing/2014/main" id="{E8DCEB8F-01DE-4464-A4F5-E9B8276157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7990111" y="4177507"/>
              <a:ext cx="252412" cy="25400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Line 126">
              <a:extLst>
                <a:ext uri="{FF2B5EF4-FFF2-40B4-BE49-F238E27FC236}">
                  <a16:creationId xmlns:a16="http://schemas.microsoft.com/office/drawing/2014/main" id="{51932E62-D4F0-42C1-93BA-96EFD4EEFE6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45673" y="4153694"/>
              <a:ext cx="158750" cy="15875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Line 127">
              <a:extLst>
                <a:ext uri="{FF2B5EF4-FFF2-40B4-BE49-F238E27FC236}">
                  <a16:creationId xmlns:a16="http://schemas.microsoft.com/office/drawing/2014/main" id="{C09F8899-A6C4-4CC4-83AD-59B86ABEB48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77423" y="4112419"/>
              <a:ext cx="101600" cy="104775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Oval 128">
              <a:extLst>
                <a:ext uri="{FF2B5EF4-FFF2-40B4-BE49-F238E27FC236}">
                  <a16:creationId xmlns:a16="http://schemas.microsoft.com/office/drawing/2014/main" id="{87AB0555-B788-451E-9EE6-55E49BE605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9023" y="3982244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Oval 129">
              <a:extLst>
                <a:ext uri="{FF2B5EF4-FFF2-40B4-BE49-F238E27FC236}">
                  <a16:creationId xmlns:a16="http://schemas.microsoft.com/office/drawing/2014/main" id="{F451266B-183F-47BA-A40D-869006CB09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47286" y="4048919"/>
              <a:ext cx="65087" cy="6826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Oval 130">
              <a:extLst>
                <a:ext uri="{FF2B5EF4-FFF2-40B4-BE49-F238E27FC236}">
                  <a16:creationId xmlns:a16="http://schemas.microsoft.com/office/drawing/2014/main" id="{C25EB198-AA14-4161-9ADC-BFFEDACC97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5536" y="4020344"/>
              <a:ext cx="128587" cy="1254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" name="Oval 131">
              <a:extLst>
                <a:ext uri="{FF2B5EF4-FFF2-40B4-BE49-F238E27FC236}">
                  <a16:creationId xmlns:a16="http://schemas.microsoft.com/office/drawing/2014/main" id="{F1D39C35-C733-43D6-9AAD-AA153DCC61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64711" y="3769519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2" name="Oval 132">
              <a:extLst>
                <a:ext uri="{FF2B5EF4-FFF2-40B4-BE49-F238E27FC236}">
                  <a16:creationId xmlns:a16="http://schemas.microsoft.com/office/drawing/2014/main" id="{C33DA1E9-048F-4BCB-B8BF-C36D257192A8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8034561" y="3837782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3" name="Line 134">
              <a:extLst>
                <a:ext uri="{FF2B5EF4-FFF2-40B4-BE49-F238E27FC236}">
                  <a16:creationId xmlns:a16="http://schemas.microsoft.com/office/drawing/2014/main" id="{1A62CD72-5651-495C-AB92-11FBC9C956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156699" y="4231481"/>
              <a:ext cx="709712" cy="711352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Line 135">
              <a:extLst>
                <a:ext uri="{FF2B5EF4-FFF2-40B4-BE49-F238E27FC236}">
                  <a16:creationId xmlns:a16="http://schemas.microsoft.com/office/drawing/2014/main" id="{B81BA3B1-CFD3-4E85-8715-585C9108BB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51923" y="4460081"/>
              <a:ext cx="484287" cy="4859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Line 137">
              <a:extLst>
                <a:ext uri="{FF2B5EF4-FFF2-40B4-BE49-F238E27FC236}">
                  <a16:creationId xmlns:a16="http://schemas.microsoft.com/office/drawing/2014/main" id="{10DB3049-370B-4B62-B9BB-3B92B8C4CC7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71123" y="3658394"/>
              <a:ext cx="358775" cy="3603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Line 138">
              <a:extLst>
                <a:ext uri="{FF2B5EF4-FFF2-40B4-BE49-F238E27FC236}">
                  <a16:creationId xmlns:a16="http://schemas.microsoft.com/office/drawing/2014/main" id="{2C7585C5-39E7-4BE2-8EDB-F434D5C4BA1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32923" y="3617119"/>
              <a:ext cx="354112" cy="35255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139">
              <a:extLst>
                <a:ext uri="{FF2B5EF4-FFF2-40B4-BE49-F238E27FC236}">
                  <a16:creationId xmlns:a16="http://schemas.microsoft.com/office/drawing/2014/main" id="{7EC9A6BA-E6B0-44D8-8A8E-46404E18E44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94948" y="3464719"/>
              <a:ext cx="277812" cy="236538"/>
            </a:xfrm>
            <a:custGeom>
              <a:avLst/>
              <a:gdLst>
                <a:gd name="T0" fmla="*/ 175 w 175"/>
                <a:gd name="T1" fmla="*/ 149 h 149"/>
                <a:gd name="T2" fmla="*/ 25 w 175"/>
                <a:gd name="T3" fmla="*/ 0 h 149"/>
                <a:gd name="T4" fmla="*/ 0 w 175"/>
                <a:gd name="T5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5" h="149">
                  <a:moveTo>
                    <a:pt x="175" y="149"/>
                  </a:moveTo>
                  <a:lnTo>
                    <a:pt x="25" y="0"/>
                  </a:lnTo>
                  <a:lnTo>
                    <a:pt x="0" y="23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Rectangle 146">
              <a:extLst>
                <a:ext uri="{FF2B5EF4-FFF2-40B4-BE49-F238E27FC236}">
                  <a16:creationId xmlns:a16="http://schemas.microsoft.com/office/drawing/2014/main" id="{CB3CE32E-98FA-4B68-AB9B-E18DF2C326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3501232"/>
              <a:ext cx="134937" cy="134938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Rectangle 147">
              <a:extLst>
                <a:ext uri="{FF2B5EF4-FFF2-40B4-BE49-F238E27FC236}">
                  <a16:creationId xmlns:a16="http://schemas.microsoft.com/office/drawing/2014/main" id="{35FB3C37-ED72-453B-A367-42FC5442D7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2236" y="3523457"/>
              <a:ext cx="92075" cy="9366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Rectangle 148">
              <a:extLst>
                <a:ext uri="{FF2B5EF4-FFF2-40B4-BE49-F238E27FC236}">
                  <a16:creationId xmlns:a16="http://schemas.microsoft.com/office/drawing/2014/main" id="{6950EE19-972E-4AAF-9AC1-DC2C3A440C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02873" y="3544094"/>
              <a:ext cx="49212" cy="4921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Rectangle 149">
              <a:extLst>
                <a:ext uri="{FF2B5EF4-FFF2-40B4-BE49-F238E27FC236}">
                  <a16:creationId xmlns:a16="http://schemas.microsoft.com/office/drawing/2014/main" id="{B6C410EA-C22B-4A16-9DB4-CF8A2FA2C0D1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672736" y="4220369"/>
              <a:ext cx="74612" cy="762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id="{6DB59AD9-788A-4FC6-8380-842F95D65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7953598" y="3666332"/>
              <a:ext cx="69850" cy="68263"/>
            </a:xfrm>
            <a:custGeom>
              <a:avLst/>
              <a:gdLst>
                <a:gd name="T0" fmla="*/ 0 w 44"/>
                <a:gd name="T1" fmla="*/ 22 h 43"/>
                <a:gd name="T2" fmla="*/ 21 w 44"/>
                <a:gd name="T3" fmla="*/ 0 h 43"/>
                <a:gd name="T4" fmla="*/ 44 w 44"/>
                <a:gd name="T5" fmla="*/ 22 h 43"/>
                <a:gd name="T6" fmla="*/ 21 w 44"/>
                <a:gd name="T7" fmla="*/ 43 h 43"/>
                <a:gd name="T8" fmla="*/ 0 w 44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id="{41390600-BEE1-404B-A077-64A99B8043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904386" y="3717132"/>
              <a:ext cx="68262" cy="68263"/>
            </a:xfrm>
            <a:custGeom>
              <a:avLst/>
              <a:gdLst>
                <a:gd name="T0" fmla="*/ 0 w 43"/>
                <a:gd name="T1" fmla="*/ 21 h 43"/>
                <a:gd name="T2" fmla="*/ 22 w 43"/>
                <a:gd name="T3" fmla="*/ 0 h 43"/>
                <a:gd name="T4" fmla="*/ 43 w 43"/>
                <a:gd name="T5" fmla="*/ 21 h 43"/>
                <a:gd name="T6" fmla="*/ 22 w 43"/>
                <a:gd name="T7" fmla="*/ 43 h 43"/>
                <a:gd name="T8" fmla="*/ 0 w 43"/>
                <a:gd name="T9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22" y="0"/>
                  </a:lnTo>
                  <a:lnTo>
                    <a:pt x="43" y="21"/>
                  </a:lnTo>
                  <a:lnTo>
                    <a:pt x="22" y="43"/>
                  </a:lnTo>
                  <a:lnTo>
                    <a:pt x="0" y="21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id="{6E6BB764-778C-48BD-A3A5-A4619FE69F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855173" y="3764757"/>
              <a:ext cx="69850" cy="71438"/>
            </a:xfrm>
            <a:custGeom>
              <a:avLst/>
              <a:gdLst>
                <a:gd name="T0" fmla="*/ 0 w 44"/>
                <a:gd name="T1" fmla="*/ 22 h 45"/>
                <a:gd name="T2" fmla="*/ 21 w 44"/>
                <a:gd name="T3" fmla="*/ 0 h 45"/>
                <a:gd name="T4" fmla="*/ 44 w 44"/>
                <a:gd name="T5" fmla="*/ 22 h 45"/>
                <a:gd name="T6" fmla="*/ 21 w 44"/>
                <a:gd name="T7" fmla="*/ 45 h 45"/>
                <a:gd name="T8" fmla="*/ 0 w 44"/>
                <a:gd name="T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5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5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8" name="Freeform 177">
              <a:extLst>
                <a:ext uri="{FF2B5EF4-FFF2-40B4-BE49-F238E27FC236}">
                  <a16:creationId xmlns:a16="http://schemas.microsoft.com/office/drawing/2014/main" id="{0F057569-E45A-42EC-9F1F-B223C5929A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805961" y="3815557"/>
              <a:ext cx="68262" cy="68263"/>
            </a:xfrm>
            <a:custGeom>
              <a:avLst/>
              <a:gdLst>
                <a:gd name="T0" fmla="*/ 0 w 43"/>
                <a:gd name="T1" fmla="*/ 22 h 43"/>
                <a:gd name="T2" fmla="*/ 22 w 43"/>
                <a:gd name="T3" fmla="*/ 0 h 43"/>
                <a:gd name="T4" fmla="*/ 43 w 43"/>
                <a:gd name="T5" fmla="*/ 22 h 43"/>
                <a:gd name="T6" fmla="*/ 22 w 43"/>
                <a:gd name="T7" fmla="*/ 43 h 43"/>
                <a:gd name="T8" fmla="*/ 0 w 43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22" y="0"/>
                  </a:lnTo>
                  <a:lnTo>
                    <a:pt x="43" y="22"/>
                  </a:lnTo>
                  <a:lnTo>
                    <a:pt x="22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9" name="Line 181">
              <a:extLst>
                <a:ext uri="{FF2B5EF4-FFF2-40B4-BE49-F238E27FC236}">
                  <a16:creationId xmlns:a16="http://schemas.microsoft.com/office/drawing/2014/main" id="{080B4EFD-C8F1-4DA0-B2C2-7171BEE2E5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25036" y="4366419"/>
              <a:ext cx="247650" cy="2460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1" name="Line 182">
              <a:extLst>
                <a:ext uri="{FF2B5EF4-FFF2-40B4-BE49-F238E27FC236}">
                  <a16:creationId xmlns:a16="http://schemas.microsoft.com/office/drawing/2014/main" id="{CA52CB7D-7BCB-436E-B690-3B2126FC47E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972648" y="4394994"/>
              <a:ext cx="217487" cy="217488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183">
              <a:extLst>
                <a:ext uri="{FF2B5EF4-FFF2-40B4-BE49-F238E27FC236}">
                  <a16:creationId xmlns:a16="http://schemas.microsoft.com/office/drawing/2014/main" id="{001B1860-1316-4187-968A-02F4077EE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86873" y="4336257"/>
              <a:ext cx="857250" cy="603250"/>
            </a:xfrm>
            <a:custGeom>
              <a:avLst/>
              <a:gdLst>
                <a:gd name="T0" fmla="*/ 540 w 540"/>
                <a:gd name="T1" fmla="*/ 0 h 380"/>
                <a:gd name="T2" fmla="*/ 366 w 540"/>
                <a:gd name="T3" fmla="*/ 174 h 380"/>
                <a:gd name="T4" fmla="*/ 205 w 540"/>
                <a:gd name="T5" fmla="*/ 174 h 380"/>
                <a:gd name="T6" fmla="*/ 0 w 540"/>
                <a:gd name="T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0" h="380">
                  <a:moveTo>
                    <a:pt x="540" y="0"/>
                  </a:moveTo>
                  <a:lnTo>
                    <a:pt x="366" y="174"/>
                  </a:lnTo>
                  <a:lnTo>
                    <a:pt x="205" y="174"/>
                  </a:lnTo>
                  <a:lnTo>
                    <a:pt x="0" y="380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Oval 118">
              <a:extLst>
                <a:ext uri="{FF2B5EF4-FFF2-40B4-BE49-F238E27FC236}">
                  <a16:creationId xmlns:a16="http://schemas.microsoft.com/office/drawing/2014/main" id="{FEADA6F3-3D53-42AC-A77C-0361481552F5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552086" y="4342607"/>
              <a:ext cx="554037" cy="5572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Oval 165">
              <a:extLst>
                <a:ext uri="{FF2B5EF4-FFF2-40B4-BE49-F238E27FC236}">
                  <a16:creationId xmlns:a16="http://schemas.microsoft.com/office/drawing/2014/main" id="{2F2B8154-9D50-4B79-83B5-A78A58C3C752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698136" y="3693319"/>
              <a:ext cx="101600" cy="1016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Oval 168">
              <a:extLst>
                <a:ext uri="{FF2B5EF4-FFF2-40B4-BE49-F238E27FC236}">
                  <a16:creationId xmlns:a16="http://schemas.microsoft.com/office/drawing/2014/main" id="{664C49FD-9510-4267-AF11-986E06E6DA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618761" y="38076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Rectangle 140">
              <a:extLst>
                <a:ext uri="{FF2B5EF4-FFF2-40B4-BE49-F238E27FC236}">
                  <a16:creationId xmlns:a16="http://schemas.microsoft.com/office/drawing/2014/main" id="{71418AAC-08C1-4914-89FB-2F177D3299F8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872761" y="3701257"/>
              <a:ext cx="271462" cy="27146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Rectangle 141">
              <a:extLst>
                <a:ext uri="{FF2B5EF4-FFF2-40B4-BE49-F238E27FC236}">
                  <a16:creationId xmlns:a16="http://schemas.microsoft.com/office/drawing/2014/main" id="{F938A976-2B02-49D4-B016-5B918BDD1DDE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915623" y="3744119"/>
              <a:ext cx="185737" cy="18415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8" name="Rectangle 142">
              <a:extLst>
                <a:ext uri="{FF2B5EF4-FFF2-40B4-BE49-F238E27FC236}">
                  <a16:creationId xmlns:a16="http://schemas.microsoft.com/office/drawing/2014/main" id="{82A7DCE0-694A-439F-901B-6AC9B5DC8A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58486" y="3786982"/>
              <a:ext cx="98425" cy="98425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7" name="Rectangle 143">
              <a:extLst>
                <a:ext uri="{FF2B5EF4-FFF2-40B4-BE49-F238E27FC236}">
                  <a16:creationId xmlns:a16="http://schemas.microsoft.com/office/drawing/2014/main" id="{C9E651BD-C7C0-4E98-B2B7-9E733CA935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90211" y="3890169"/>
              <a:ext cx="163512" cy="1651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8" name="Rectangle 144">
              <a:extLst>
                <a:ext uri="{FF2B5EF4-FFF2-40B4-BE49-F238E27FC236}">
                  <a16:creationId xmlns:a16="http://schemas.microsoft.com/office/drawing/2014/main" id="{11BA5C9A-E1FA-4604-9F67-136A8AA587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7198" y="3915569"/>
              <a:ext cx="111125" cy="1143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Rectangle 145">
              <a:extLst>
                <a:ext uri="{FF2B5EF4-FFF2-40B4-BE49-F238E27FC236}">
                  <a16:creationId xmlns:a16="http://schemas.microsoft.com/office/drawing/2014/main" id="{5F065FD8-F813-4A7F-AA05-38B66A68D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42598" y="3940969"/>
              <a:ext cx="58737" cy="6191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Oval 158">
              <a:extLst>
                <a:ext uri="{FF2B5EF4-FFF2-40B4-BE49-F238E27FC236}">
                  <a16:creationId xmlns:a16="http://schemas.microsoft.com/office/drawing/2014/main" id="{185AE119-1ED5-4FC6-92B5-A4BDF23E5C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8836" y="4426744"/>
              <a:ext cx="47625" cy="492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2" name="Oval 159">
              <a:extLst>
                <a:ext uri="{FF2B5EF4-FFF2-40B4-BE49-F238E27FC236}">
                  <a16:creationId xmlns:a16="http://schemas.microsoft.com/office/drawing/2014/main" id="{0539B869-E62A-4F5F-92FA-510E9A6743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21848" y="4475957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3" name="Oval 160">
              <a:extLst>
                <a:ext uri="{FF2B5EF4-FFF2-40B4-BE49-F238E27FC236}">
                  <a16:creationId xmlns:a16="http://schemas.microsoft.com/office/drawing/2014/main" id="{E1617AC9-5CB8-491F-947C-7B0AF40347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0273" y="4312444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4" name="Oval 161">
              <a:extLst>
                <a:ext uri="{FF2B5EF4-FFF2-40B4-BE49-F238E27FC236}">
                  <a16:creationId xmlns:a16="http://schemas.microsoft.com/office/drawing/2014/main" id="{DAA91148-9CED-45D7-9698-9731543838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55198" y="4210844"/>
              <a:ext cx="23812" cy="254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5" name="Oval 162">
              <a:extLst>
                <a:ext uri="{FF2B5EF4-FFF2-40B4-BE49-F238E27FC236}">
                  <a16:creationId xmlns:a16="http://schemas.microsoft.com/office/drawing/2014/main" id="{500CD617-E13F-47E9-8CB7-51485F872C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9798" y="4247357"/>
              <a:ext cx="15875" cy="14288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6" name="Oval 163">
              <a:extLst>
                <a:ext uri="{FF2B5EF4-FFF2-40B4-BE49-F238E27FC236}">
                  <a16:creationId xmlns:a16="http://schemas.microsoft.com/office/drawing/2014/main" id="{03680E56-BB0D-4D6E-A208-756E3F716A7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07573" y="4266407"/>
              <a:ext cx="15875" cy="15875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7" name="Oval 164">
              <a:extLst>
                <a:ext uri="{FF2B5EF4-FFF2-40B4-BE49-F238E27FC236}">
                  <a16:creationId xmlns:a16="http://schemas.microsoft.com/office/drawing/2014/main" id="{87509450-E4B7-432E-808F-18A9E89E02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94861" y="4502944"/>
              <a:ext cx="23812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8" name="Oval 192">
              <a:extLst>
                <a:ext uri="{FF2B5EF4-FFF2-40B4-BE49-F238E27FC236}">
                  <a16:creationId xmlns:a16="http://schemas.microsoft.com/office/drawing/2014/main" id="{2E55AA4A-FA69-44BE-A659-9A4B5DB147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66348" y="3748882"/>
              <a:ext cx="58737" cy="55563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9" name="Oval 193">
              <a:extLst>
                <a:ext uri="{FF2B5EF4-FFF2-40B4-BE49-F238E27FC236}">
                  <a16:creationId xmlns:a16="http://schemas.microsoft.com/office/drawing/2014/main" id="{EDA9F321-DF62-40B9-ADE9-766539E6349D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362379" y="3628232"/>
              <a:ext cx="36000" cy="360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0" name="Oval 194">
              <a:extLst>
                <a:ext uri="{FF2B5EF4-FFF2-40B4-BE49-F238E27FC236}">
                  <a16:creationId xmlns:a16="http://schemas.microsoft.com/office/drawing/2014/main" id="{F2276B05-1D1C-4D32-BC27-DEBF160CA2F9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237761" y="3418682"/>
              <a:ext cx="26987" cy="2698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1" name="Oval 184">
              <a:extLst>
                <a:ext uri="{FF2B5EF4-FFF2-40B4-BE49-F238E27FC236}">
                  <a16:creationId xmlns:a16="http://schemas.microsoft.com/office/drawing/2014/main" id="{7B489EEB-FB07-4527-8CE7-37AE896652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23486" y="4320382"/>
              <a:ext cx="33337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2" name="Oval 185">
              <a:extLst>
                <a:ext uri="{FF2B5EF4-FFF2-40B4-BE49-F238E27FC236}">
                  <a16:creationId xmlns:a16="http://schemas.microsoft.com/office/drawing/2014/main" id="{63EB983C-9068-4BA6-92A4-3030B318B0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56811" y="4345782"/>
              <a:ext cx="33337" cy="34925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3" name="Oval 186">
              <a:extLst>
                <a:ext uri="{FF2B5EF4-FFF2-40B4-BE49-F238E27FC236}">
                  <a16:creationId xmlns:a16="http://schemas.microsoft.com/office/drawing/2014/main" id="{EFB332E5-8558-4573-AB86-1C284462F9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2673" y="4379119"/>
              <a:ext cx="34925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4" name="Oval 22">
              <a:extLst>
                <a:ext uri="{FF2B5EF4-FFF2-40B4-BE49-F238E27FC236}">
                  <a16:creationId xmlns:a16="http://schemas.microsoft.com/office/drawing/2014/main" id="{C23D3460-AAE7-4D70-B614-7F5A7072BCB3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842598" y="4194969"/>
              <a:ext cx="57150" cy="5715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5" name="Freeform 8">
              <a:extLst>
                <a:ext uri="{FF2B5EF4-FFF2-40B4-BE49-F238E27FC236}">
                  <a16:creationId xmlns:a16="http://schemas.microsoft.com/office/drawing/2014/main" id="{343E9502-300B-4C04-8D87-22622020314C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8719369" y="2755901"/>
              <a:ext cx="1438670" cy="1438670"/>
            </a:xfrm>
            <a:prstGeom prst="arc">
              <a:avLst>
                <a:gd name="adj1" fmla="val 11100380"/>
                <a:gd name="adj2" fmla="val 14749325"/>
              </a:avLst>
            </a:prstGeom>
            <a:noFill/>
            <a:ln w="3175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6" name="Line 134">
              <a:extLst>
                <a:ext uri="{FF2B5EF4-FFF2-40B4-BE49-F238E27FC236}">
                  <a16:creationId xmlns:a16="http://schemas.microsoft.com/office/drawing/2014/main" id="{4B1D5C86-DADB-48D1-A9F1-C56D6A051B1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01793" y="3932237"/>
              <a:ext cx="1003582" cy="1005901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7" name="Oval 19">
              <a:extLst>
                <a:ext uri="{FF2B5EF4-FFF2-40B4-BE49-F238E27FC236}">
                  <a16:creationId xmlns:a16="http://schemas.microsoft.com/office/drawing/2014/main" id="{DAB6BB7F-E8EE-4705-9F81-8C5A33FFB2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14011" y="3215482"/>
              <a:ext cx="82550" cy="793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8" name="Oval 21">
              <a:extLst>
                <a:ext uri="{FF2B5EF4-FFF2-40B4-BE49-F238E27FC236}">
                  <a16:creationId xmlns:a16="http://schemas.microsoft.com/office/drawing/2014/main" id="{A8981E37-C0CE-4C48-89EA-7464DA8278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29886" y="3229769"/>
              <a:ext cx="50800" cy="508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aphicFrame>
        <p:nvGraphicFramePr>
          <p:cNvPr id="79" name="Objekt 7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Folie" r:id="rId41" imgW="360" imgH="360" progId="TCLayout.ActiveDocument.1">
                  <p:embed/>
                </p:oleObj>
              </mc:Choice>
              <mc:Fallback>
                <p:oleObj name="think-cell Folie" r:id="rId41" imgW="360" imgH="360" progId="TCLayout.ActiveDocument.1">
                  <p:embed/>
                  <p:pic>
                    <p:nvPicPr>
                      <p:cNvPr id="79" name="Objek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1C16250-7489-488A-82B7-222C8BC69B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n-GB" sz="2600" dirty="0">
              <a:solidFill>
                <a:schemeClr val="tx1"/>
              </a:solidFill>
              <a:latin typeface="Fujitsu Sans" panose="020B0404060202020204" pitchFamily="34" charset="0"/>
              <a:ea typeface="+mj-ea"/>
              <a:cs typeface="+mj-cs"/>
              <a:sym typeface="Fujitsu Sans" panose="020B040406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/>
              <a:t>FUJITSU </a:t>
            </a:r>
            <a:r>
              <a:rPr lang="de-DE" dirty="0" smtClean="0"/>
              <a:t>PRIMERGY RX-Systeme</a:t>
            </a:r>
            <a:endParaRPr lang="de-DE" dirty="0"/>
          </a:p>
        </p:txBody>
      </p:sp>
      <p:sp>
        <p:nvSpPr>
          <p:cNvPr id="161" name="Textfeld 160"/>
          <p:cNvSpPr txBox="1"/>
          <p:nvPr/>
        </p:nvSpPr>
        <p:spPr>
          <a:xfrm>
            <a:off x="6426964" y="4825484"/>
            <a:ext cx="2540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>
                <a:solidFill>
                  <a:schemeClr val="bg1">
                    <a:lumMod val="50000"/>
                  </a:schemeClr>
                </a:solidFill>
                <a:latin typeface="Fujitsu Sans" panose="020B0404060202020204" pitchFamily="34" charset="0"/>
              </a:rPr>
              <a:t>Umfassendes</a:t>
            </a:r>
            <a:r>
              <a:rPr lang="de-DE" sz="1600" dirty="0"/>
              <a:t> </a:t>
            </a:r>
            <a:r>
              <a:rPr lang="de-DE" sz="700" dirty="0">
                <a:solidFill>
                  <a:schemeClr val="bg1">
                    <a:lumMod val="50000"/>
                  </a:schemeClr>
                </a:solidFill>
                <a:latin typeface="Fujitsu Sans" panose="020B0404060202020204" pitchFamily="34" charset="0"/>
              </a:rPr>
              <a:t>Supportangebot</a:t>
            </a:r>
            <a:r>
              <a:rPr lang="de-DE" sz="1600" dirty="0"/>
              <a:t> </a:t>
            </a:r>
            <a:r>
              <a:rPr lang="de-DE" sz="700" dirty="0">
                <a:solidFill>
                  <a:schemeClr val="bg1">
                    <a:lumMod val="50000"/>
                  </a:schemeClr>
                </a:solidFill>
                <a:latin typeface="Fujitsu Sans" panose="020B0404060202020204" pitchFamily="34" charset="0"/>
              </a:rPr>
              <a:t>verfügbar</a:t>
            </a:r>
          </a:p>
        </p:txBody>
      </p:sp>
      <p:pic>
        <p:nvPicPr>
          <p:cNvPr id="142" name="Grafik 141"/>
          <p:cNvPicPr>
            <a:picLocks noChangeAspect="1"/>
          </p:cNvPicPr>
          <p:nvPr/>
        </p:nvPicPr>
        <p:blipFill rotWithShape="1">
          <a:blip r:embed="rId4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42" t="15241" r="11523" b="11522"/>
          <a:stretch/>
        </p:blipFill>
        <p:spPr>
          <a:xfrm>
            <a:off x="1799692" y="2231422"/>
            <a:ext cx="1346769" cy="897621"/>
          </a:xfrm>
          <a:prstGeom prst="rect">
            <a:avLst/>
          </a:prstGeom>
        </p:spPr>
      </p:pic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314646EF-70E9-49F2-AAE5-2C9160D27DF3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0" y="4227995"/>
            <a:ext cx="8977938" cy="576003"/>
            <a:chOff x="0" y="4011917"/>
            <a:chExt cx="8977938" cy="576003"/>
          </a:xfrm>
        </p:grpSpPr>
        <p:grpSp>
          <p:nvGrpSpPr>
            <p:cNvPr id="144" name="Gruppieren 143">
              <a:extLst>
                <a:ext uri="{FF2B5EF4-FFF2-40B4-BE49-F238E27FC236}">
                  <a16:creationId xmlns:a16="http://schemas.microsoft.com/office/drawing/2014/main" id="{5699BD83-1B11-433B-A65D-E8D38FE0E97C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 bwMode="gray">
            <a:xfrm>
              <a:off x="0" y="4011917"/>
              <a:ext cx="8891464" cy="576003"/>
              <a:chOff x="0" y="4011917"/>
              <a:chExt cx="8891464" cy="576003"/>
            </a:xfrm>
          </p:grpSpPr>
          <p:sp>
            <p:nvSpPr>
              <p:cNvPr id="150" name="Parallelogramm 145">
                <a:extLst>
                  <a:ext uri="{FF2B5EF4-FFF2-40B4-BE49-F238E27FC236}">
                    <a16:creationId xmlns:a16="http://schemas.microsoft.com/office/drawing/2014/main" id="{313EE1CF-B0F3-438C-9F88-854A9EA3288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 bwMode="gray">
              <a:xfrm>
                <a:off x="0" y="4011917"/>
                <a:ext cx="8891464" cy="503924"/>
              </a:xfrm>
              <a:custGeom>
                <a:avLst/>
                <a:gdLst>
                  <a:gd name="connsiteX0" fmla="*/ 0 w 8891464"/>
                  <a:gd name="connsiteY0" fmla="*/ 503924 h 595364"/>
                  <a:gd name="connsiteX1" fmla="*/ 0 w 8891464"/>
                  <a:gd name="connsiteY1" fmla="*/ 0 h 595364"/>
                  <a:gd name="connsiteX2" fmla="*/ 8891464 w 8891464"/>
                  <a:gd name="connsiteY2" fmla="*/ 0 h 595364"/>
                  <a:gd name="connsiteX3" fmla="*/ 8739188 w 8891464"/>
                  <a:gd name="connsiteY3" fmla="*/ 503924 h 595364"/>
                  <a:gd name="connsiteX4" fmla="*/ 91440 w 8891464"/>
                  <a:gd name="connsiteY4" fmla="*/ 595364 h 595364"/>
                  <a:gd name="connsiteX0" fmla="*/ 0 w 8891464"/>
                  <a:gd name="connsiteY0" fmla="*/ 503924 h 503924"/>
                  <a:gd name="connsiteX1" fmla="*/ 0 w 8891464"/>
                  <a:gd name="connsiteY1" fmla="*/ 0 h 503924"/>
                  <a:gd name="connsiteX2" fmla="*/ 8891464 w 8891464"/>
                  <a:gd name="connsiteY2" fmla="*/ 0 h 503924"/>
                  <a:gd name="connsiteX3" fmla="*/ 8739188 w 8891464"/>
                  <a:gd name="connsiteY3" fmla="*/ 503924 h 503924"/>
                  <a:gd name="connsiteX0" fmla="*/ 0 w 8891464"/>
                  <a:gd name="connsiteY0" fmla="*/ 0 h 503924"/>
                  <a:gd name="connsiteX1" fmla="*/ 8891464 w 8891464"/>
                  <a:gd name="connsiteY1" fmla="*/ 0 h 503924"/>
                  <a:gd name="connsiteX2" fmla="*/ 8739188 w 8891464"/>
                  <a:gd name="connsiteY2" fmla="*/ 503924 h 503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91464" h="503924">
                    <a:moveTo>
                      <a:pt x="0" y="0"/>
                    </a:moveTo>
                    <a:lnTo>
                      <a:pt x="8891464" y="0"/>
                    </a:lnTo>
                    <a:lnTo>
                      <a:pt x="8739188" y="503924"/>
                    </a:lnTo>
                  </a:path>
                </a:pathLst>
              </a:custGeom>
              <a:noFill/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>
                <a:defPPr>
                  <a:defRPr lang="de-DE"/>
                </a:defPPr>
                <a:lvl1pPr marL="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4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29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44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592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74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88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03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18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10000"/>
                  </a:lnSpc>
                </a:pPr>
                <a:endParaRPr lang="en-GB" sz="1200" dirty="0">
                  <a:solidFill>
                    <a:schemeClr val="tx1"/>
                  </a:solidFill>
                  <a:latin typeface="Fujitsu Sans Light" panose="020B0304060202020204" pitchFamily="34" charset="0"/>
                </a:endParaRPr>
              </a:p>
            </p:txBody>
          </p:sp>
          <p:sp>
            <p:nvSpPr>
              <p:cNvPr id="151" name="Parallelogramm 160">
                <a:extLst>
                  <a:ext uri="{FF2B5EF4-FFF2-40B4-BE49-F238E27FC236}">
                    <a16:creationId xmlns:a16="http://schemas.microsoft.com/office/drawing/2014/main" id="{FB645209-853A-4E33-8869-72661A99DC4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 bwMode="gray">
              <a:xfrm>
                <a:off x="0" y="4083970"/>
                <a:ext cx="8783948" cy="503924"/>
              </a:xfrm>
              <a:custGeom>
                <a:avLst/>
                <a:gdLst/>
                <a:ahLst/>
                <a:cxnLst/>
                <a:rect l="l" t="t" r="r" b="b"/>
                <a:pathLst>
                  <a:path w="8783948" h="503924">
                    <a:moveTo>
                      <a:pt x="0" y="0"/>
                    </a:moveTo>
                    <a:lnTo>
                      <a:pt x="8783948" y="0"/>
                    </a:lnTo>
                    <a:lnTo>
                      <a:pt x="8631672" y="503924"/>
                    </a:lnTo>
                    <a:lnTo>
                      <a:pt x="0" y="50392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>
                <a:defPPr>
                  <a:defRPr lang="de-DE"/>
                </a:defPPr>
                <a:lvl1pPr marL="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4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29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44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592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74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88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03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18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10000"/>
                  </a:lnSpc>
                </a:pPr>
                <a:endParaRPr lang="en-GB" sz="1200" dirty="0">
                  <a:solidFill>
                    <a:schemeClr val="tx1"/>
                  </a:solidFill>
                  <a:latin typeface="Fujitsu Sans Light" panose="020B0304060202020204" pitchFamily="34" charset="0"/>
                </a:endParaRPr>
              </a:p>
            </p:txBody>
          </p:sp>
          <p:sp>
            <p:nvSpPr>
              <p:cNvPr id="152" name="Rechteck 151">
                <a:extLst>
                  <a:ext uri="{FF2B5EF4-FFF2-40B4-BE49-F238E27FC236}">
                    <a16:creationId xmlns:a16="http://schemas.microsoft.com/office/drawing/2014/main" id="{4BF6503B-D6AA-49E4-8713-072A6FEB9C62}"/>
                  </a:ext>
                </a:extLst>
              </p:cNvPr>
              <p:cNvSpPr/>
              <p:nvPr/>
            </p:nvSpPr>
            <p:spPr bwMode="gray">
              <a:xfrm>
                <a:off x="241535" y="4083919"/>
                <a:ext cx="8280000" cy="504001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>
                <a:defPPr>
                  <a:defRPr lang="de-DE"/>
                </a:defPPr>
                <a:lvl1pPr marL="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4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29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44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592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740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2888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036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184" algn="l" defTabSz="914296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dirty="0">
                    <a:solidFill>
                      <a:schemeClr val="bg1"/>
                    </a:solidFill>
                    <a:latin typeface="Fujitsu Sans Light" panose="020B0304060202020204" pitchFamily="34" charset="0"/>
                  </a:rPr>
                  <a:t>Vielseitige Rack-optimierte Server bieten eine überragende Leistung und Energieeffizienz und bilden somit den „Standard“ für jedes Rechenzentrum.</a:t>
                </a:r>
              </a:p>
            </p:txBody>
          </p:sp>
        </p:grpSp>
        <p:grpSp>
          <p:nvGrpSpPr>
            <p:cNvPr id="145" name="Gruppieren 144">
              <a:extLst>
                <a:ext uri="{FF2B5EF4-FFF2-40B4-BE49-F238E27FC236}">
                  <a16:creationId xmlns:a16="http://schemas.microsoft.com/office/drawing/2014/main" id="{DCABF2BA-8E64-401B-9A47-5A12FFF110D2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 bwMode="gray">
            <a:xfrm rot="19938273">
              <a:off x="8588490" y="4126838"/>
              <a:ext cx="389448" cy="414468"/>
              <a:chOff x="781425" y="684202"/>
              <a:chExt cx="1595810" cy="1698334"/>
            </a:xfrm>
          </p:grpSpPr>
          <p:sp>
            <p:nvSpPr>
              <p:cNvPr id="146" name="Line 60">
                <a:extLst>
                  <a:ext uri="{FF2B5EF4-FFF2-40B4-BE49-F238E27FC236}">
                    <a16:creationId xmlns:a16="http://schemas.microsoft.com/office/drawing/2014/main" id="{0C5A8C48-C6A8-412F-A1F6-F2C285ED594A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gray">
              <a:xfrm flipH="1">
                <a:off x="900785" y="684202"/>
                <a:ext cx="1476450" cy="1476451"/>
              </a:xfrm>
              <a:prstGeom prst="line">
                <a:avLst/>
              </a:prstGeom>
              <a:solidFill>
                <a:schemeClr val="bg1"/>
              </a:solidFill>
              <a:ln w="31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</a:pPr>
                <a:endParaRPr lang="en-GB" sz="1200" dirty="0">
                  <a:latin typeface="Fujitsu Sans Light" panose="020B0304060202020204" pitchFamily="34" charset="0"/>
                </a:endParaRPr>
              </a:p>
            </p:txBody>
          </p:sp>
          <p:sp>
            <p:nvSpPr>
              <p:cNvPr id="147" name="Line 98">
                <a:extLst>
                  <a:ext uri="{FF2B5EF4-FFF2-40B4-BE49-F238E27FC236}">
                    <a16:creationId xmlns:a16="http://schemas.microsoft.com/office/drawing/2014/main" id="{7337438E-4829-46D7-8640-DB357F8D477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gray">
              <a:xfrm flipH="1">
                <a:off x="1691225" y="1459619"/>
                <a:ext cx="282535" cy="283129"/>
              </a:xfrm>
              <a:prstGeom prst="line">
                <a:avLst/>
              </a:prstGeom>
              <a:solidFill>
                <a:schemeClr val="bg1"/>
              </a:solidFill>
              <a:ln w="31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</a:pPr>
                <a:endParaRPr lang="en-GB" sz="1200" dirty="0">
                  <a:latin typeface="Fujitsu Sans Light" panose="020B0304060202020204" pitchFamily="34" charset="0"/>
                </a:endParaRPr>
              </a:p>
            </p:txBody>
          </p:sp>
          <p:sp>
            <p:nvSpPr>
              <p:cNvPr id="148" name="Line 99">
                <a:extLst>
                  <a:ext uri="{FF2B5EF4-FFF2-40B4-BE49-F238E27FC236}">
                    <a16:creationId xmlns:a16="http://schemas.microsoft.com/office/drawing/2014/main" id="{126CC4E2-E249-41A3-848B-6EC447D43E70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gray">
              <a:xfrm flipH="1">
                <a:off x="1290102" y="1521919"/>
                <a:ext cx="499561" cy="499562"/>
              </a:xfrm>
              <a:prstGeom prst="line">
                <a:avLst/>
              </a:prstGeom>
              <a:noFill/>
              <a:ln w="3175" cap="rnd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</a:pPr>
                <a:endParaRPr lang="en-GB" sz="1200" dirty="0">
                  <a:latin typeface="Fujitsu Sans Light" panose="020B0304060202020204" pitchFamily="34" charset="0"/>
                </a:endParaRPr>
              </a:p>
            </p:txBody>
          </p:sp>
          <p:sp>
            <p:nvSpPr>
              <p:cNvPr id="149" name="Line 60">
                <a:extLst>
                  <a:ext uri="{FF2B5EF4-FFF2-40B4-BE49-F238E27FC236}">
                    <a16:creationId xmlns:a16="http://schemas.microsoft.com/office/drawing/2014/main" id="{0B45F0FD-DD28-4E53-B3AC-CDBA4E97B74A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4"/>
                </p:custDataLst>
              </p:nvPr>
            </p:nvSpPr>
            <p:spPr bwMode="gray">
              <a:xfrm flipH="1">
                <a:off x="781425" y="2220967"/>
                <a:ext cx="161569" cy="161569"/>
              </a:xfrm>
              <a:prstGeom prst="line">
                <a:avLst/>
              </a:prstGeom>
              <a:solidFill>
                <a:schemeClr val="bg1"/>
              </a:solidFill>
              <a:ln w="3175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</a:pPr>
                <a:endParaRPr lang="en-GB" sz="1200" dirty="0">
                  <a:latin typeface="Fujitsu Sans Light" panose="020B0304060202020204" pitchFamily="34" charset="0"/>
                </a:endParaRPr>
              </a:p>
            </p:txBody>
          </p:sp>
        </p:grpSp>
      </p:grpSp>
      <p:sp>
        <p:nvSpPr>
          <p:cNvPr id="153" name="Rechteck 152">
            <a:extLst>
              <a:ext uri="{FF2B5EF4-FFF2-40B4-BE49-F238E27FC236}">
                <a16:creationId xmlns:a16="http://schemas.microsoft.com/office/drawing/2014/main" id="{5FBD066D-F6CF-4558-A1C0-D85F59A9574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405932" y="1131590"/>
            <a:ext cx="1411113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600" dirty="0" smtClean="0">
                <a:solidFill>
                  <a:srgbClr val="FF0000"/>
                </a:solidFill>
                <a:latin typeface="Fujitsu Sans Medium" panose="020B0504060202020204" pitchFamily="34" charset="0"/>
              </a:rPr>
              <a:t>Quad-Socket</a:t>
            </a:r>
            <a:endParaRPr lang="en-GB" sz="1600" dirty="0">
              <a:solidFill>
                <a:srgbClr val="FF0000"/>
              </a:solidFill>
              <a:latin typeface="Fujitsu Sans Medium" panose="020B0504060202020204" pitchFamily="34" charset="0"/>
            </a:endParaRPr>
          </a:p>
        </p:txBody>
      </p:sp>
      <p:cxnSp>
        <p:nvCxnSpPr>
          <p:cNvPr id="154" name="Gerader Verbinder 181">
            <a:extLst>
              <a:ext uri="{FF2B5EF4-FFF2-40B4-BE49-F238E27FC236}">
                <a16:creationId xmlns:a16="http://schemas.microsoft.com/office/drawing/2014/main" id="{4143542F-5D1A-402E-944D-3ED8C574E52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H="1">
            <a:off x="7372026" y="1484956"/>
            <a:ext cx="1401290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  <a:headEnd type="none" w="lg" len="lg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5" name="Rechteck 154">
            <a:extLst>
              <a:ext uri="{FF2B5EF4-FFF2-40B4-BE49-F238E27FC236}">
                <a16:creationId xmlns:a16="http://schemas.microsoft.com/office/drawing/2014/main" id="{73053553-B23F-4B14-8461-726B77936615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907704" y="1131590"/>
            <a:ext cx="5184576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600" dirty="0" smtClean="0">
                <a:solidFill>
                  <a:srgbClr val="FF0000"/>
                </a:solidFill>
                <a:latin typeface="Fujitsu Sans Medium" panose="020B0504060202020204" pitchFamily="34" charset="0"/>
              </a:rPr>
              <a:t>Dual-Socket</a:t>
            </a:r>
            <a:endParaRPr lang="en-GB" sz="1600" dirty="0">
              <a:solidFill>
                <a:srgbClr val="FF0000"/>
              </a:solidFill>
              <a:latin typeface="Fujitsu Sans Medium" panose="020B0504060202020204" pitchFamily="34" charset="0"/>
            </a:endParaRPr>
          </a:p>
        </p:txBody>
      </p:sp>
      <p:cxnSp>
        <p:nvCxnSpPr>
          <p:cNvPr id="156" name="Gerader Verbinder 181">
            <a:extLst>
              <a:ext uri="{FF2B5EF4-FFF2-40B4-BE49-F238E27FC236}">
                <a16:creationId xmlns:a16="http://schemas.microsoft.com/office/drawing/2014/main" id="{7C501053-0EF5-424F-ABBC-0ADD1CE209C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 flipH="1">
            <a:off x="1907704" y="1484956"/>
            <a:ext cx="5184576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  <a:headEnd type="none" w="lg" len="lg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7" name="Rechteck 156">
            <a:extLst>
              <a:ext uri="{FF2B5EF4-FFF2-40B4-BE49-F238E27FC236}">
                <a16:creationId xmlns:a16="http://schemas.microsoft.com/office/drawing/2014/main" id="{9216121F-F949-4AA6-815C-88B3BF293BDA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79512" y="1131590"/>
            <a:ext cx="160647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600" dirty="0" smtClean="0">
                <a:solidFill>
                  <a:srgbClr val="FF0000"/>
                </a:solidFill>
                <a:latin typeface="Fujitsu Sans Medium" panose="020B0504060202020204" pitchFamily="34" charset="0"/>
              </a:rPr>
              <a:t>Mono-Socket</a:t>
            </a:r>
            <a:endParaRPr lang="en-GB" sz="1600" dirty="0">
              <a:solidFill>
                <a:srgbClr val="FF0000"/>
              </a:solidFill>
              <a:latin typeface="Fujitsu Sans Medium" panose="020B0504060202020204" pitchFamily="34" charset="0"/>
            </a:endParaRPr>
          </a:p>
        </p:txBody>
      </p:sp>
      <p:cxnSp>
        <p:nvCxnSpPr>
          <p:cNvPr id="158" name="Gerader Verbinder 181">
            <a:extLst>
              <a:ext uri="{FF2B5EF4-FFF2-40B4-BE49-F238E27FC236}">
                <a16:creationId xmlns:a16="http://schemas.microsoft.com/office/drawing/2014/main" id="{92855E37-F43D-4CB2-8D34-E5FA9B121BFD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293792" y="1484956"/>
            <a:ext cx="1346400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  <a:headEnd type="none" w="lg" len="lg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9" name="Rechteck 158"/>
          <p:cNvSpPr/>
          <p:nvPr/>
        </p:nvSpPr>
        <p:spPr>
          <a:xfrm>
            <a:off x="4583882" y="1703238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530 </a:t>
            </a:r>
            <a:r>
              <a:rPr kumimoji="1" lang="de-DE" sz="1200" b="1" dirty="0" smtClean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M6</a:t>
            </a:r>
            <a:endParaRPr kumimoji="1" lang="de-DE" sz="1200" b="1" dirty="0">
              <a:solidFill>
                <a:schemeClr val="accent6"/>
              </a:solidFill>
              <a:latin typeface="Fujitsu Sans Light" panose="020B030406020202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5854696" y="1693686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540 </a:t>
            </a:r>
            <a:r>
              <a:rPr kumimoji="1" lang="de-DE" sz="1200" b="1" dirty="0" smtClean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M6</a:t>
            </a:r>
            <a:endParaRPr kumimoji="1" lang="de-DE" sz="1200" b="1" dirty="0">
              <a:solidFill>
                <a:schemeClr val="accent6"/>
              </a:solidFill>
              <a:latin typeface="Fujitsu Sans Light" panose="020B030406020202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3171850" y="1698704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520 M5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293792" y="1689495"/>
            <a:ext cx="1346400" cy="26184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1330 M4</a:t>
            </a:r>
          </a:p>
        </p:txBody>
      </p:sp>
      <p:pic>
        <p:nvPicPr>
          <p:cNvPr id="194" name="Picture 2"/>
          <p:cNvPicPr>
            <a:picLocks noChangeAspect="1" noChangeArrowheads="1"/>
          </p:cNvPicPr>
          <p:nvPr/>
        </p:nvPicPr>
        <p:blipFill>
          <a:blip r:embed="rId4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47008" y="2532498"/>
            <a:ext cx="1219448" cy="300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" name="Picture 4" descr="\\g02.fujitsu.local\dfs\PDBH\Groups2\Pdbjoroe\1 - PRIMERGY\Picturemanagement_low\_PRIMERGY Server\PRIM_Rack_Server\PRIMERGY RX2530 M2\py_rx2530_m2_2_5_front_01.jpg"/>
          <p:cNvPicPr>
            <a:picLocks noChangeAspect="1" noChangeArrowheads="1"/>
          </p:cNvPicPr>
          <p:nvPr/>
        </p:nvPicPr>
        <p:blipFill>
          <a:blip r:embed="rId4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7844" y="2443797"/>
            <a:ext cx="1224000" cy="47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5" descr="\\g02.fujitsu.local\dfs\PDBH\Groups2\Pdbjoroe\1 - PRIMERGY\Picturemanagement_low\_PRIMERGY Server\PRIM_Rack_Server\PRIMERGY RX2540 M2\RX2540_M2_front_01_3_5_inch.jpg"/>
          <p:cNvPicPr>
            <a:picLocks noChangeAspect="1" noChangeArrowheads="1"/>
          </p:cNvPicPr>
          <p:nvPr/>
        </p:nvPicPr>
        <p:blipFill>
          <a:blip r:embed="rId4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3199" y="2416086"/>
            <a:ext cx="1224000" cy="543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7" name="Rechteck 196"/>
          <p:cNvSpPr/>
          <p:nvPr/>
        </p:nvSpPr>
        <p:spPr>
          <a:xfrm>
            <a:off x="7432148" y="1683836"/>
            <a:ext cx="1439144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4770 M6</a:t>
            </a:r>
          </a:p>
        </p:txBody>
      </p:sp>
      <p:pic>
        <p:nvPicPr>
          <p:cNvPr id="198" name="Picture 5"/>
          <p:cNvPicPr>
            <a:picLocks noChangeAspect="1" noChangeArrowheads="1"/>
          </p:cNvPicPr>
          <p:nvPr/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15879" y="2300242"/>
            <a:ext cx="1250731" cy="775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Rechteck 198"/>
          <p:cNvSpPr/>
          <p:nvPr/>
        </p:nvSpPr>
        <p:spPr>
          <a:xfrm>
            <a:off x="347009" y="3097513"/>
            <a:ext cx="129318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Kompakt und kostengünstig – umfangreiche optionale Funktionen</a:t>
            </a:r>
          </a:p>
        </p:txBody>
      </p:sp>
      <p:sp>
        <p:nvSpPr>
          <p:cNvPr id="200" name="Rechteck 199"/>
          <p:cNvSpPr/>
          <p:nvPr/>
        </p:nvSpPr>
        <p:spPr>
          <a:xfrm>
            <a:off x="3178876" y="3124307"/>
            <a:ext cx="146513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Datenverarbeitung und </a:t>
            </a:r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Speicherung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, ideal für zentrale Rechenzentrums-anforderungen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4608004" y="3124004"/>
            <a:ext cx="136965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Maximale Produktivität </a:t>
            </a:r>
            <a:b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</a:b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in einem 1HE-Gehäus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5940152" y="3124307"/>
            <a:ext cx="15315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Der kompromisslose </a:t>
            </a:r>
            <a:b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</a:b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Standard für Rechenzentren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7452320" y="3124307"/>
            <a:ext cx="143924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Optimale Leistung für das Backend der Digitalisierung</a:t>
            </a:r>
          </a:p>
        </p:txBody>
      </p:sp>
      <p:pic>
        <p:nvPicPr>
          <p:cNvPr id="204" name="Grafik 203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900" y="2211710"/>
            <a:ext cx="1226416" cy="760378"/>
          </a:xfrm>
          <a:prstGeom prst="rect">
            <a:avLst/>
          </a:prstGeom>
        </p:spPr>
      </p:pic>
      <p:grpSp>
        <p:nvGrpSpPr>
          <p:cNvPr id="205" name="Gruppieren 204">
            <a:extLst>
              <a:ext uri="{FF2B5EF4-FFF2-40B4-BE49-F238E27FC236}">
                <a16:creationId xmlns:a16="http://schemas.microsoft.com/office/drawing/2014/main" id="{89B6202C-882C-4DAF-BF6D-8BE9445C757B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 rot="15439201" flipH="1">
            <a:off x="770877" y="1345588"/>
            <a:ext cx="304522" cy="304522"/>
            <a:chOff x="6188146" y="1257558"/>
            <a:chExt cx="432047" cy="432047"/>
          </a:xfrm>
        </p:grpSpPr>
        <p:sp>
          <p:nvSpPr>
            <p:cNvPr id="206" name="Bogen 205">
              <a:extLst>
                <a:ext uri="{FF2B5EF4-FFF2-40B4-BE49-F238E27FC236}">
                  <a16:creationId xmlns:a16="http://schemas.microsoft.com/office/drawing/2014/main" id="{2B74A18C-6C38-4623-BE66-EF2341BEAB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6188146" y="1257558"/>
              <a:ext cx="432047" cy="432047"/>
            </a:xfrm>
            <a:prstGeom prst="arc">
              <a:avLst>
                <a:gd name="adj1" fmla="val 20221392"/>
                <a:gd name="adj2" fmla="val 9661372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07" name="Bogen 206">
              <a:extLst>
                <a:ext uri="{FF2B5EF4-FFF2-40B4-BE49-F238E27FC236}">
                  <a16:creationId xmlns:a16="http://schemas.microsoft.com/office/drawing/2014/main" id="{A32F1BF6-A22B-402D-B0C8-24AFC94F06B1}"/>
                </a:ext>
              </a:extLst>
            </p:cNvPr>
            <p:cNvSpPr/>
            <p:nvPr/>
          </p:nvSpPr>
          <p:spPr bwMode="gray">
            <a:xfrm>
              <a:off x="6247418" y="1316832"/>
              <a:ext cx="313502" cy="313500"/>
            </a:xfrm>
            <a:prstGeom prst="arc">
              <a:avLst>
                <a:gd name="adj1" fmla="val 1320986"/>
                <a:gd name="adj2" fmla="val 13647459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CAA9912F-315D-4998-B682-C920093CF9CD}"/>
                </a:ext>
              </a:extLst>
            </p:cNvPr>
            <p:cNvSpPr/>
            <p:nvPr/>
          </p:nvSpPr>
          <p:spPr bwMode="gray">
            <a:xfrm>
              <a:off x="6332162" y="1401574"/>
              <a:ext cx="144016" cy="14401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110000"/>
                </a:lnSpc>
              </a:pPr>
              <a:endParaRPr lang="en-GB" dirty="0">
                <a:solidFill>
                  <a:schemeClr val="tx1"/>
                </a:solidFill>
                <a:latin typeface="Fujitsu Sans Light" panose="020B0304060202020204" pitchFamily="34" charset="0"/>
              </a:endParaRPr>
            </a:p>
          </p:txBody>
        </p:sp>
      </p:grpSp>
      <p:grpSp>
        <p:nvGrpSpPr>
          <p:cNvPr id="209" name="Gruppieren 208">
            <a:extLst>
              <a:ext uri="{FF2B5EF4-FFF2-40B4-BE49-F238E27FC236}">
                <a16:creationId xmlns:a16="http://schemas.microsoft.com/office/drawing/2014/main" id="{89B6202C-882C-4DAF-BF6D-8BE9445C757B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 rot="15439201" flipH="1">
            <a:off x="4241669" y="1337546"/>
            <a:ext cx="304522" cy="304522"/>
            <a:chOff x="6188146" y="1257558"/>
            <a:chExt cx="432047" cy="432047"/>
          </a:xfrm>
        </p:grpSpPr>
        <p:sp>
          <p:nvSpPr>
            <p:cNvPr id="210" name="Bogen 209">
              <a:extLst>
                <a:ext uri="{FF2B5EF4-FFF2-40B4-BE49-F238E27FC236}">
                  <a16:creationId xmlns:a16="http://schemas.microsoft.com/office/drawing/2014/main" id="{2B74A18C-6C38-4623-BE66-EF2341BEABE4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6188146" y="1257558"/>
              <a:ext cx="432047" cy="432047"/>
            </a:xfrm>
            <a:prstGeom prst="arc">
              <a:avLst>
                <a:gd name="adj1" fmla="val 20221392"/>
                <a:gd name="adj2" fmla="val 9661372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11" name="Bogen 210">
              <a:extLst>
                <a:ext uri="{FF2B5EF4-FFF2-40B4-BE49-F238E27FC236}">
                  <a16:creationId xmlns:a16="http://schemas.microsoft.com/office/drawing/2014/main" id="{A32F1BF6-A22B-402D-B0C8-24AFC94F06B1}"/>
                </a:ext>
              </a:extLst>
            </p:cNvPr>
            <p:cNvSpPr/>
            <p:nvPr/>
          </p:nvSpPr>
          <p:spPr bwMode="gray">
            <a:xfrm>
              <a:off x="6247418" y="1316832"/>
              <a:ext cx="313502" cy="313500"/>
            </a:xfrm>
            <a:prstGeom prst="arc">
              <a:avLst>
                <a:gd name="adj1" fmla="val 1320986"/>
                <a:gd name="adj2" fmla="val 13647459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CAA9912F-315D-4998-B682-C920093CF9CD}"/>
                </a:ext>
              </a:extLst>
            </p:cNvPr>
            <p:cNvSpPr/>
            <p:nvPr/>
          </p:nvSpPr>
          <p:spPr bwMode="gray">
            <a:xfrm>
              <a:off x="6332162" y="1401574"/>
              <a:ext cx="144016" cy="14401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110000"/>
                </a:lnSpc>
              </a:pPr>
              <a:endParaRPr lang="en-GB" dirty="0">
                <a:solidFill>
                  <a:schemeClr val="tx1"/>
                </a:solidFill>
                <a:latin typeface="Fujitsu Sans Light" panose="020B0304060202020204" pitchFamily="34" charset="0"/>
              </a:endParaRP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89B6202C-882C-4DAF-BF6D-8BE9445C757B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 rot="15439201" flipH="1">
            <a:off x="7910177" y="1354021"/>
            <a:ext cx="304522" cy="304522"/>
            <a:chOff x="6188146" y="1257558"/>
            <a:chExt cx="432047" cy="432047"/>
          </a:xfrm>
        </p:grpSpPr>
        <p:sp>
          <p:nvSpPr>
            <p:cNvPr id="214" name="Bogen 213">
              <a:extLst>
                <a:ext uri="{FF2B5EF4-FFF2-40B4-BE49-F238E27FC236}">
                  <a16:creationId xmlns:a16="http://schemas.microsoft.com/office/drawing/2014/main" id="{2B74A18C-6C38-4623-BE66-EF2341BEABE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6188146" y="1257558"/>
              <a:ext cx="432047" cy="432047"/>
            </a:xfrm>
            <a:prstGeom prst="arc">
              <a:avLst>
                <a:gd name="adj1" fmla="val 20221392"/>
                <a:gd name="adj2" fmla="val 9661372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15" name="Bogen 214">
              <a:extLst>
                <a:ext uri="{FF2B5EF4-FFF2-40B4-BE49-F238E27FC236}">
                  <a16:creationId xmlns:a16="http://schemas.microsoft.com/office/drawing/2014/main" id="{A32F1BF6-A22B-402D-B0C8-24AFC94F06B1}"/>
                </a:ext>
              </a:extLst>
            </p:cNvPr>
            <p:cNvSpPr/>
            <p:nvPr/>
          </p:nvSpPr>
          <p:spPr bwMode="gray">
            <a:xfrm>
              <a:off x="6247418" y="1316832"/>
              <a:ext cx="313502" cy="313500"/>
            </a:xfrm>
            <a:prstGeom prst="arc">
              <a:avLst>
                <a:gd name="adj1" fmla="val 1320986"/>
                <a:gd name="adj2" fmla="val 13647459"/>
              </a:avLst>
            </a:prstGeom>
            <a:solidFill>
              <a:schemeClr val="bg1"/>
            </a:solidFill>
            <a:ln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en-GB" dirty="0">
                <a:latin typeface="Fujitsu Sans Light" panose="020B0304060202020204" pitchFamily="34" charset="0"/>
              </a:endParaRPr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id="{CAA9912F-315D-4998-B682-C920093CF9CD}"/>
                </a:ext>
              </a:extLst>
            </p:cNvPr>
            <p:cNvSpPr/>
            <p:nvPr/>
          </p:nvSpPr>
          <p:spPr bwMode="gray">
            <a:xfrm>
              <a:off x="6332162" y="1401574"/>
              <a:ext cx="144016" cy="14401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110000"/>
                </a:lnSpc>
              </a:pPr>
              <a:endParaRPr lang="en-GB" dirty="0">
                <a:solidFill>
                  <a:schemeClr val="tx1"/>
                </a:solidFill>
                <a:latin typeface="Fujitsu Sans Light" panose="020B0304060202020204" pitchFamily="34" charset="0"/>
              </a:endParaRPr>
            </a:p>
          </p:txBody>
        </p:sp>
      </p:grpSp>
      <p:pic>
        <p:nvPicPr>
          <p:cNvPr id="217" name="Picture 2" descr="AMD EPYC logo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302" y="2085086"/>
            <a:ext cx="519498" cy="19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8" name="Rechteck 217"/>
          <p:cNvSpPr/>
          <p:nvPr/>
        </p:nvSpPr>
        <p:spPr>
          <a:xfrm>
            <a:off x="1857448" y="1682667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 smtClean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450 M1</a:t>
            </a:r>
            <a:endParaRPr kumimoji="1" lang="de-DE" sz="1200" b="1" dirty="0">
              <a:solidFill>
                <a:schemeClr val="accent6"/>
              </a:solidFill>
              <a:latin typeface="Fujitsu Sans Light" panose="020B030406020202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763688" y="3103923"/>
            <a:ext cx="14651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ujitsu Sans Light" panose="020B0304060202020204" pitchFamily="34" charset="0"/>
              </a:rPr>
              <a:t>Leistungsstarker Server, der Ihre Dienste bedient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latin typeface="Fujitsu Sans Light" panose="020B0304060202020204" pitchFamily="34" charset="0"/>
            </a:endParaRPr>
          </a:p>
        </p:txBody>
      </p:sp>
      <p:pic>
        <p:nvPicPr>
          <p:cNvPr id="220" name="Picture 4" descr="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33" y="2087207"/>
            <a:ext cx="430718" cy="1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1" name="Picture 4" descr="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7523" y="2081592"/>
            <a:ext cx="430718" cy="1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" name="Picture 4" descr="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637" y="2074896"/>
            <a:ext cx="430718" cy="1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4" descr="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148" y="2056041"/>
            <a:ext cx="430718" cy="1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4" name="Picture 4" descr="Logo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019" y="2022890"/>
            <a:ext cx="430718" cy="1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2" descr="Website change: fresh look and new direction for The Mobile City | The  Mobile City"/>
          <p:cNvPicPr>
            <a:picLocks noChangeAspect="1" noChangeArrowheads="1"/>
          </p:cNvPicPr>
          <p:nvPr/>
        </p:nvPicPr>
        <p:blipFill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058" y="2189355"/>
            <a:ext cx="472754" cy="47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" name="Picture 2" descr="Website change: fresh look and new direction for The Mobile City | The  Mobile City"/>
          <p:cNvPicPr>
            <a:picLocks noChangeAspect="1" noChangeArrowheads="1"/>
          </p:cNvPicPr>
          <p:nvPr/>
        </p:nvPicPr>
        <p:blipFill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32" y="2180146"/>
            <a:ext cx="472754" cy="47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Picture 2" descr="Website change: fresh look and new direction for The Mobile City | The  Mobile City"/>
          <p:cNvPicPr>
            <a:picLocks noChangeAspect="1" noChangeArrowheads="1"/>
          </p:cNvPicPr>
          <p:nvPr/>
        </p:nvPicPr>
        <p:blipFill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4179" y="2182238"/>
            <a:ext cx="472754" cy="47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8" name="Rechteck 227"/>
          <p:cNvSpPr/>
          <p:nvPr/>
        </p:nvSpPr>
        <p:spPr>
          <a:xfrm>
            <a:off x="4581140" y="1532108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530 </a:t>
            </a:r>
            <a:r>
              <a:rPr kumimoji="1" lang="de-DE" sz="1200" b="1" dirty="0" smtClean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M5</a:t>
            </a:r>
            <a:endParaRPr kumimoji="1" lang="de-DE" sz="1200" b="1" dirty="0">
              <a:solidFill>
                <a:schemeClr val="accent6"/>
              </a:solidFill>
              <a:latin typeface="Fujitsu Sans Light" panose="020B030406020202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5852060" y="1532108"/>
            <a:ext cx="1346400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kumimoji="1" lang="de-DE" sz="1200" b="1" dirty="0" smtClean="0">
                <a:solidFill>
                  <a:schemeClr val="accent6"/>
                </a:solidFill>
                <a:latin typeface="Fujitsu Sans Light" panose="020B0304060202020204" pitchFamily="34" charset="0"/>
                <a:ea typeface="Meiryo UI" panose="020B0604030504040204" pitchFamily="50" charset="-128"/>
                <a:cs typeface="Meiryo UI" panose="020B0604030504040204" pitchFamily="50" charset="-128"/>
              </a:rPr>
              <a:t>RX2540 M5</a:t>
            </a:r>
            <a:endParaRPr kumimoji="1" lang="de-DE" sz="1200" b="1" dirty="0">
              <a:solidFill>
                <a:schemeClr val="accent6"/>
              </a:solidFill>
              <a:latin typeface="Fujitsu Sans Light" panose="020B0304060202020204" pitchFamily="34" charset="0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79512" y="4950629"/>
            <a:ext cx="803832" cy="1688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6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/>
          <a:srcRect l="16739" t="26098" r="18088" b="26206"/>
          <a:stretch/>
        </p:blipFill>
        <p:spPr>
          <a:xfrm>
            <a:off x="323528" y="915566"/>
            <a:ext cx="7848872" cy="3561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u: PRIMERGY RX2540 M6 </a:t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Whitley</a:t>
            </a:r>
            <a:r>
              <a:rPr lang="de-DE" dirty="0" smtClean="0"/>
              <a:t>- </a:t>
            </a:r>
            <a:r>
              <a:rPr lang="de-DE" dirty="0" err="1" smtClean="0"/>
              <a:t>Ice</a:t>
            </a:r>
            <a:r>
              <a:rPr lang="de-DE" dirty="0" smtClean="0"/>
              <a:t>-Lake)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-73719" y="4225818"/>
            <a:ext cx="9217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Zwei Systemboards zur Auswahl: </a:t>
            </a:r>
          </a:p>
          <a:p>
            <a:pPr algn="ctr"/>
            <a:r>
              <a:rPr lang="de-DE" dirty="0" smtClean="0"/>
              <a:t>Nun auch mit PRIMERGY </a:t>
            </a:r>
            <a:r>
              <a:rPr lang="de-DE" dirty="0" err="1"/>
              <a:t>Platform</a:t>
            </a:r>
            <a:r>
              <a:rPr lang="de-DE" dirty="0"/>
              <a:t> Firmware </a:t>
            </a:r>
            <a:r>
              <a:rPr lang="de-DE" dirty="0" err="1"/>
              <a:t>Resiliency</a:t>
            </a:r>
            <a:r>
              <a:rPr lang="de-DE" dirty="0"/>
              <a:t> (PFR)</a:t>
            </a:r>
          </a:p>
        </p:txBody>
      </p:sp>
    </p:spTree>
    <p:extLst>
      <p:ext uri="{BB962C8B-B14F-4D97-AF65-F5344CB8AC3E}">
        <p14:creationId xmlns:p14="http://schemas.microsoft.com/office/powerpoint/2010/main" val="7064263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6AFE615-B491-4F7A-A0C3-C335E4F1D1A6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7001793" y="2650529"/>
            <a:ext cx="3261617" cy="2295515"/>
            <a:chOff x="7001793" y="2650529"/>
            <a:chExt cx="3261617" cy="2295515"/>
          </a:xfrm>
        </p:grpSpPr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14864034-654A-4C49-9506-A4ECD1BCB158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8613997" y="2650529"/>
              <a:ext cx="1649413" cy="1649413"/>
            </a:xfrm>
            <a:prstGeom prst="arc">
              <a:avLst>
                <a:gd name="adj1" fmla="val 11100380"/>
                <a:gd name="adj2" fmla="val 14937073"/>
              </a:avLst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7" name="Oval 115">
              <a:extLst>
                <a:ext uri="{FF2B5EF4-FFF2-40B4-BE49-F238E27FC236}">
                  <a16:creationId xmlns:a16="http://schemas.microsoft.com/office/drawing/2014/main" id="{D4179DE5-1C8E-48CC-9A03-43706A2D4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39436" y="4056857"/>
              <a:ext cx="201612" cy="2032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8" name="Oval 116">
              <a:extLst>
                <a:ext uri="{FF2B5EF4-FFF2-40B4-BE49-F238E27FC236}">
                  <a16:creationId xmlns:a16="http://schemas.microsoft.com/office/drawing/2014/main" id="{1C7B8978-BE00-4D74-9ADF-5D6CC8B81A11}"/>
                </a:ext>
              </a:extLst>
            </p:cNvPr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9007698" y="41251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9" name="Oval 117">
              <a:extLst>
                <a:ext uri="{FF2B5EF4-FFF2-40B4-BE49-F238E27FC236}">
                  <a16:creationId xmlns:a16="http://schemas.microsoft.com/office/drawing/2014/main" id="{9C58E124-A65A-45B6-8D2D-5E12449327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75948" y="4094957"/>
              <a:ext cx="128587" cy="127000"/>
            </a:xfrm>
            <a:prstGeom prst="ellips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1" name="Oval 121">
              <a:extLst>
                <a:ext uri="{FF2B5EF4-FFF2-40B4-BE49-F238E27FC236}">
                  <a16:creationId xmlns:a16="http://schemas.microsoft.com/office/drawing/2014/main" id="{0F90892D-E326-4C7F-877E-BAAA45C52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93336" y="4194969"/>
              <a:ext cx="200025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2" name="Oval 122">
              <a:extLst>
                <a:ext uri="{FF2B5EF4-FFF2-40B4-BE49-F238E27FC236}">
                  <a16:creationId xmlns:a16="http://schemas.microsoft.com/office/drawing/2014/main" id="{D2606469-C9AE-4F56-A690-377AFCA856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4263232"/>
              <a:ext cx="66675" cy="666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3" name="Oval 123">
              <a:extLst>
                <a:ext uri="{FF2B5EF4-FFF2-40B4-BE49-F238E27FC236}">
                  <a16:creationId xmlns:a16="http://schemas.microsoft.com/office/drawing/2014/main" id="{E81F442A-53E8-4E30-B97F-8031FAE33B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29848" y="4231482"/>
              <a:ext cx="127000" cy="1285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4" name="Line 125">
              <a:extLst>
                <a:ext uri="{FF2B5EF4-FFF2-40B4-BE49-F238E27FC236}">
                  <a16:creationId xmlns:a16="http://schemas.microsoft.com/office/drawing/2014/main" id="{E8DCEB8F-01DE-4464-A4F5-E9B8276157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7990111" y="4177507"/>
              <a:ext cx="252412" cy="25400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5" name="Line 126">
              <a:extLst>
                <a:ext uri="{FF2B5EF4-FFF2-40B4-BE49-F238E27FC236}">
                  <a16:creationId xmlns:a16="http://schemas.microsoft.com/office/drawing/2014/main" id="{51932E62-D4F0-42C1-93BA-96EFD4EEFE6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45673" y="4153694"/>
              <a:ext cx="158750" cy="15875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7" name="Line 127">
              <a:extLst>
                <a:ext uri="{FF2B5EF4-FFF2-40B4-BE49-F238E27FC236}">
                  <a16:creationId xmlns:a16="http://schemas.microsoft.com/office/drawing/2014/main" id="{C09F8899-A6C4-4CC4-83AD-59B86ABEB48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77423" y="4112419"/>
              <a:ext cx="101600" cy="104775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8" name="Oval 128">
              <a:extLst>
                <a:ext uri="{FF2B5EF4-FFF2-40B4-BE49-F238E27FC236}">
                  <a16:creationId xmlns:a16="http://schemas.microsoft.com/office/drawing/2014/main" id="{87AB0555-B788-451E-9EE6-55E49BE605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9023" y="3982244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84" name="Oval 129">
              <a:extLst>
                <a:ext uri="{FF2B5EF4-FFF2-40B4-BE49-F238E27FC236}">
                  <a16:creationId xmlns:a16="http://schemas.microsoft.com/office/drawing/2014/main" id="{F451266B-183F-47BA-A40D-869006CB09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47286" y="4048919"/>
              <a:ext cx="65087" cy="6826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0" name="Oval 130">
              <a:extLst>
                <a:ext uri="{FF2B5EF4-FFF2-40B4-BE49-F238E27FC236}">
                  <a16:creationId xmlns:a16="http://schemas.microsoft.com/office/drawing/2014/main" id="{C25EB198-AA14-4161-9ADC-BFFEDACC97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5536" y="4020344"/>
              <a:ext cx="128587" cy="1254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1" name="Oval 131">
              <a:extLst>
                <a:ext uri="{FF2B5EF4-FFF2-40B4-BE49-F238E27FC236}">
                  <a16:creationId xmlns:a16="http://schemas.microsoft.com/office/drawing/2014/main" id="{F1D39C35-C733-43D6-9AAD-AA153DCC61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64711" y="3769519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2" name="Oval 132">
              <a:extLst>
                <a:ext uri="{FF2B5EF4-FFF2-40B4-BE49-F238E27FC236}">
                  <a16:creationId xmlns:a16="http://schemas.microsoft.com/office/drawing/2014/main" id="{C33DA1E9-048F-4BCB-B8BF-C36D257192A8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8034561" y="3837782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3" name="Line 134">
              <a:extLst>
                <a:ext uri="{FF2B5EF4-FFF2-40B4-BE49-F238E27FC236}">
                  <a16:creationId xmlns:a16="http://schemas.microsoft.com/office/drawing/2014/main" id="{1A62CD72-5651-495C-AB92-11FBC9C956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156699" y="4231481"/>
              <a:ext cx="709712" cy="711352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4" name="Line 135">
              <a:extLst>
                <a:ext uri="{FF2B5EF4-FFF2-40B4-BE49-F238E27FC236}">
                  <a16:creationId xmlns:a16="http://schemas.microsoft.com/office/drawing/2014/main" id="{B81BA3B1-CFD3-4E85-8715-585C9108BB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51923" y="4460081"/>
              <a:ext cx="484287" cy="4859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5" name="Line 137">
              <a:extLst>
                <a:ext uri="{FF2B5EF4-FFF2-40B4-BE49-F238E27FC236}">
                  <a16:creationId xmlns:a16="http://schemas.microsoft.com/office/drawing/2014/main" id="{10DB3049-370B-4B62-B9BB-3B92B8C4CC7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71123" y="3658394"/>
              <a:ext cx="358775" cy="3603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6" name="Line 138">
              <a:extLst>
                <a:ext uri="{FF2B5EF4-FFF2-40B4-BE49-F238E27FC236}">
                  <a16:creationId xmlns:a16="http://schemas.microsoft.com/office/drawing/2014/main" id="{2C7585C5-39E7-4BE2-8EDB-F434D5C4BA1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32923" y="3617119"/>
              <a:ext cx="354112" cy="35255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7" name="Freeform 139">
              <a:extLst>
                <a:ext uri="{FF2B5EF4-FFF2-40B4-BE49-F238E27FC236}">
                  <a16:creationId xmlns:a16="http://schemas.microsoft.com/office/drawing/2014/main" id="{7EC9A6BA-E6B0-44D8-8A8E-46404E18E44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94948" y="3464719"/>
              <a:ext cx="277812" cy="236538"/>
            </a:xfrm>
            <a:custGeom>
              <a:avLst/>
              <a:gdLst>
                <a:gd name="T0" fmla="*/ 175 w 175"/>
                <a:gd name="T1" fmla="*/ 149 h 149"/>
                <a:gd name="T2" fmla="*/ 25 w 175"/>
                <a:gd name="T3" fmla="*/ 0 h 149"/>
                <a:gd name="T4" fmla="*/ 0 w 175"/>
                <a:gd name="T5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5" h="149">
                  <a:moveTo>
                    <a:pt x="175" y="149"/>
                  </a:moveTo>
                  <a:lnTo>
                    <a:pt x="25" y="0"/>
                  </a:lnTo>
                  <a:lnTo>
                    <a:pt x="0" y="23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9" name="Rectangle 146">
              <a:extLst>
                <a:ext uri="{FF2B5EF4-FFF2-40B4-BE49-F238E27FC236}">
                  <a16:creationId xmlns:a16="http://schemas.microsoft.com/office/drawing/2014/main" id="{CB3CE32E-98FA-4B68-AB9B-E18DF2C326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3501232"/>
              <a:ext cx="134937" cy="134938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2" name="Rectangle 147">
              <a:extLst>
                <a:ext uri="{FF2B5EF4-FFF2-40B4-BE49-F238E27FC236}">
                  <a16:creationId xmlns:a16="http://schemas.microsoft.com/office/drawing/2014/main" id="{35FB3C37-ED72-453B-A367-42FC5442D7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2236" y="3523457"/>
              <a:ext cx="92075" cy="9366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3" name="Rectangle 148">
              <a:extLst>
                <a:ext uri="{FF2B5EF4-FFF2-40B4-BE49-F238E27FC236}">
                  <a16:creationId xmlns:a16="http://schemas.microsoft.com/office/drawing/2014/main" id="{6950EE19-972E-4AAF-9AC1-DC2C3A440C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02873" y="3544094"/>
              <a:ext cx="49212" cy="4921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4" name="Rectangle 149">
              <a:extLst>
                <a:ext uri="{FF2B5EF4-FFF2-40B4-BE49-F238E27FC236}">
                  <a16:creationId xmlns:a16="http://schemas.microsoft.com/office/drawing/2014/main" id="{B6C410EA-C22B-4A16-9DB4-CF8A2FA2C0D1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8672736" y="4220369"/>
              <a:ext cx="74612" cy="762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id="{6DB59AD9-788A-4FC6-8380-842F95D65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7953598" y="3666332"/>
              <a:ext cx="69850" cy="68263"/>
            </a:xfrm>
            <a:custGeom>
              <a:avLst/>
              <a:gdLst>
                <a:gd name="T0" fmla="*/ 0 w 44"/>
                <a:gd name="T1" fmla="*/ 22 h 43"/>
                <a:gd name="T2" fmla="*/ 21 w 44"/>
                <a:gd name="T3" fmla="*/ 0 h 43"/>
                <a:gd name="T4" fmla="*/ 44 w 44"/>
                <a:gd name="T5" fmla="*/ 22 h 43"/>
                <a:gd name="T6" fmla="*/ 21 w 44"/>
                <a:gd name="T7" fmla="*/ 43 h 43"/>
                <a:gd name="T8" fmla="*/ 0 w 44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id="{41390600-BEE1-404B-A077-64A99B8043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904386" y="3717132"/>
              <a:ext cx="68262" cy="68263"/>
            </a:xfrm>
            <a:custGeom>
              <a:avLst/>
              <a:gdLst>
                <a:gd name="T0" fmla="*/ 0 w 43"/>
                <a:gd name="T1" fmla="*/ 21 h 43"/>
                <a:gd name="T2" fmla="*/ 22 w 43"/>
                <a:gd name="T3" fmla="*/ 0 h 43"/>
                <a:gd name="T4" fmla="*/ 43 w 43"/>
                <a:gd name="T5" fmla="*/ 21 h 43"/>
                <a:gd name="T6" fmla="*/ 22 w 43"/>
                <a:gd name="T7" fmla="*/ 43 h 43"/>
                <a:gd name="T8" fmla="*/ 0 w 43"/>
                <a:gd name="T9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22" y="0"/>
                  </a:lnTo>
                  <a:lnTo>
                    <a:pt x="43" y="21"/>
                  </a:lnTo>
                  <a:lnTo>
                    <a:pt x="22" y="43"/>
                  </a:lnTo>
                  <a:lnTo>
                    <a:pt x="0" y="21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id="{6E6BB764-778C-48BD-A3A5-A4619FE69F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855173" y="3764757"/>
              <a:ext cx="69850" cy="71438"/>
            </a:xfrm>
            <a:custGeom>
              <a:avLst/>
              <a:gdLst>
                <a:gd name="T0" fmla="*/ 0 w 44"/>
                <a:gd name="T1" fmla="*/ 22 h 45"/>
                <a:gd name="T2" fmla="*/ 21 w 44"/>
                <a:gd name="T3" fmla="*/ 0 h 45"/>
                <a:gd name="T4" fmla="*/ 44 w 44"/>
                <a:gd name="T5" fmla="*/ 22 h 45"/>
                <a:gd name="T6" fmla="*/ 21 w 44"/>
                <a:gd name="T7" fmla="*/ 45 h 45"/>
                <a:gd name="T8" fmla="*/ 0 w 44"/>
                <a:gd name="T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5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5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8" name="Freeform 177">
              <a:extLst>
                <a:ext uri="{FF2B5EF4-FFF2-40B4-BE49-F238E27FC236}">
                  <a16:creationId xmlns:a16="http://schemas.microsoft.com/office/drawing/2014/main" id="{0F057569-E45A-42EC-9F1F-B223C5929A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805961" y="3815557"/>
              <a:ext cx="68262" cy="68263"/>
            </a:xfrm>
            <a:custGeom>
              <a:avLst/>
              <a:gdLst>
                <a:gd name="T0" fmla="*/ 0 w 43"/>
                <a:gd name="T1" fmla="*/ 22 h 43"/>
                <a:gd name="T2" fmla="*/ 22 w 43"/>
                <a:gd name="T3" fmla="*/ 0 h 43"/>
                <a:gd name="T4" fmla="*/ 43 w 43"/>
                <a:gd name="T5" fmla="*/ 22 h 43"/>
                <a:gd name="T6" fmla="*/ 22 w 43"/>
                <a:gd name="T7" fmla="*/ 43 h 43"/>
                <a:gd name="T8" fmla="*/ 0 w 43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22" y="0"/>
                  </a:lnTo>
                  <a:lnTo>
                    <a:pt x="43" y="22"/>
                  </a:lnTo>
                  <a:lnTo>
                    <a:pt x="22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9" name="Line 181">
              <a:extLst>
                <a:ext uri="{FF2B5EF4-FFF2-40B4-BE49-F238E27FC236}">
                  <a16:creationId xmlns:a16="http://schemas.microsoft.com/office/drawing/2014/main" id="{080B4EFD-C8F1-4DA0-B2C2-7171BEE2E5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25036" y="4366419"/>
              <a:ext cx="247650" cy="2460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1" name="Line 182">
              <a:extLst>
                <a:ext uri="{FF2B5EF4-FFF2-40B4-BE49-F238E27FC236}">
                  <a16:creationId xmlns:a16="http://schemas.microsoft.com/office/drawing/2014/main" id="{CA52CB7D-7BCB-436E-B690-3B2126FC47E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972648" y="4394994"/>
              <a:ext cx="217487" cy="217488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2" name="Freeform 183">
              <a:extLst>
                <a:ext uri="{FF2B5EF4-FFF2-40B4-BE49-F238E27FC236}">
                  <a16:creationId xmlns:a16="http://schemas.microsoft.com/office/drawing/2014/main" id="{001B1860-1316-4187-968A-02F4077EE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86873" y="4336257"/>
              <a:ext cx="857250" cy="603250"/>
            </a:xfrm>
            <a:custGeom>
              <a:avLst/>
              <a:gdLst>
                <a:gd name="T0" fmla="*/ 540 w 540"/>
                <a:gd name="T1" fmla="*/ 0 h 380"/>
                <a:gd name="T2" fmla="*/ 366 w 540"/>
                <a:gd name="T3" fmla="*/ 174 h 380"/>
                <a:gd name="T4" fmla="*/ 205 w 540"/>
                <a:gd name="T5" fmla="*/ 174 h 380"/>
                <a:gd name="T6" fmla="*/ 0 w 540"/>
                <a:gd name="T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0" h="380">
                  <a:moveTo>
                    <a:pt x="540" y="0"/>
                  </a:moveTo>
                  <a:lnTo>
                    <a:pt x="366" y="174"/>
                  </a:lnTo>
                  <a:lnTo>
                    <a:pt x="205" y="174"/>
                  </a:lnTo>
                  <a:lnTo>
                    <a:pt x="0" y="380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3" name="Oval 118">
              <a:extLst>
                <a:ext uri="{FF2B5EF4-FFF2-40B4-BE49-F238E27FC236}">
                  <a16:creationId xmlns:a16="http://schemas.microsoft.com/office/drawing/2014/main" id="{FEADA6F3-3D53-42AC-A77C-0361481552F5}"/>
                </a:ext>
              </a:extLst>
            </p:cNvPr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8552086" y="4342607"/>
              <a:ext cx="554037" cy="5572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4" name="Oval 165">
              <a:extLst>
                <a:ext uri="{FF2B5EF4-FFF2-40B4-BE49-F238E27FC236}">
                  <a16:creationId xmlns:a16="http://schemas.microsoft.com/office/drawing/2014/main" id="{2F2B8154-9D50-4B79-83B5-A78A58C3C752}"/>
                </a:ext>
              </a:extLst>
            </p:cNvPr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8698136" y="3693319"/>
              <a:ext cx="101600" cy="1016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5" name="Oval 168">
              <a:extLst>
                <a:ext uri="{FF2B5EF4-FFF2-40B4-BE49-F238E27FC236}">
                  <a16:creationId xmlns:a16="http://schemas.microsoft.com/office/drawing/2014/main" id="{664C49FD-9510-4267-AF11-986E06E6DA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618761" y="38076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6" name="Rectangle 140">
              <a:extLst>
                <a:ext uri="{FF2B5EF4-FFF2-40B4-BE49-F238E27FC236}">
                  <a16:creationId xmlns:a16="http://schemas.microsoft.com/office/drawing/2014/main" id="{71418AAC-08C1-4914-89FB-2F177D3299F8}"/>
                </a:ext>
              </a:extLst>
            </p:cNvPr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8872761" y="3701257"/>
              <a:ext cx="271462" cy="27146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7" name="Rectangle 141">
              <a:extLst>
                <a:ext uri="{FF2B5EF4-FFF2-40B4-BE49-F238E27FC236}">
                  <a16:creationId xmlns:a16="http://schemas.microsoft.com/office/drawing/2014/main" id="{F938A976-2B02-49D4-B016-5B918BDD1DDE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8915623" y="3744119"/>
              <a:ext cx="185737" cy="18415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8" name="Rectangle 142">
              <a:extLst>
                <a:ext uri="{FF2B5EF4-FFF2-40B4-BE49-F238E27FC236}">
                  <a16:creationId xmlns:a16="http://schemas.microsoft.com/office/drawing/2014/main" id="{82A7DCE0-694A-439F-901B-6AC9B5DC8A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58486" y="3786982"/>
              <a:ext cx="98425" cy="98425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7" name="Rectangle 143">
              <a:extLst>
                <a:ext uri="{FF2B5EF4-FFF2-40B4-BE49-F238E27FC236}">
                  <a16:creationId xmlns:a16="http://schemas.microsoft.com/office/drawing/2014/main" id="{C9E651BD-C7C0-4E98-B2B7-9E733CA935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90211" y="3890169"/>
              <a:ext cx="163512" cy="1651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8" name="Rectangle 144">
              <a:extLst>
                <a:ext uri="{FF2B5EF4-FFF2-40B4-BE49-F238E27FC236}">
                  <a16:creationId xmlns:a16="http://schemas.microsoft.com/office/drawing/2014/main" id="{11BA5C9A-E1FA-4604-9F67-136A8AA587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7198" y="3915569"/>
              <a:ext cx="111125" cy="1143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9" name="Rectangle 145">
              <a:extLst>
                <a:ext uri="{FF2B5EF4-FFF2-40B4-BE49-F238E27FC236}">
                  <a16:creationId xmlns:a16="http://schemas.microsoft.com/office/drawing/2014/main" id="{5F065FD8-F813-4A7F-AA05-38B66A68D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42598" y="3940969"/>
              <a:ext cx="58737" cy="6191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30" name="Oval 158">
              <a:extLst>
                <a:ext uri="{FF2B5EF4-FFF2-40B4-BE49-F238E27FC236}">
                  <a16:creationId xmlns:a16="http://schemas.microsoft.com/office/drawing/2014/main" id="{185AE119-1ED5-4FC6-92B5-A4BDF23E5C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8836" y="4426744"/>
              <a:ext cx="47625" cy="492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2" name="Oval 159">
              <a:extLst>
                <a:ext uri="{FF2B5EF4-FFF2-40B4-BE49-F238E27FC236}">
                  <a16:creationId xmlns:a16="http://schemas.microsoft.com/office/drawing/2014/main" id="{0539B869-E62A-4F5F-92FA-510E9A6743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21848" y="4475957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3" name="Oval 160">
              <a:extLst>
                <a:ext uri="{FF2B5EF4-FFF2-40B4-BE49-F238E27FC236}">
                  <a16:creationId xmlns:a16="http://schemas.microsoft.com/office/drawing/2014/main" id="{E1617AC9-5CB8-491F-947C-7B0AF40347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0273" y="4312444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4" name="Oval 161">
              <a:extLst>
                <a:ext uri="{FF2B5EF4-FFF2-40B4-BE49-F238E27FC236}">
                  <a16:creationId xmlns:a16="http://schemas.microsoft.com/office/drawing/2014/main" id="{DAA91148-9CED-45D7-9698-9731543838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55198" y="4210844"/>
              <a:ext cx="23812" cy="254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5" name="Oval 162">
              <a:extLst>
                <a:ext uri="{FF2B5EF4-FFF2-40B4-BE49-F238E27FC236}">
                  <a16:creationId xmlns:a16="http://schemas.microsoft.com/office/drawing/2014/main" id="{500CD617-E13F-47E9-8CB7-51485F872C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9798" y="4247357"/>
              <a:ext cx="15875" cy="14288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6" name="Oval 163">
              <a:extLst>
                <a:ext uri="{FF2B5EF4-FFF2-40B4-BE49-F238E27FC236}">
                  <a16:creationId xmlns:a16="http://schemas.microsoft.com/office/drawing/2014/main" id="{03680E56-BB0D-4D6E-A208-756E3F716A7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07573" y="4266407"/>
              <a:ext cx="15875" cy="15875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7" name="Oval 164">
              <a:extLst>
                <a:ext uri="{FF2B5EF4-FFF2-40B4-BE49-F238E27FC236}">
                  <a16:creationId xmlns:a16="http://schemas.microsoft.com/office/drawing/2014/main" id="{87509450-E4B7-432E-808F-18A9E89E02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94861" y="4502944"/>
              <a:ext cx="23812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8" name="Oval 192">
              <a:extLst>
                <a:ext uri="{FF2B5EF4-FFF2-40B4-BE49-F238E27FC236}">
                  <a16:creationId xmlns:a16="http://schemas.microsoft.com/office/drawing/2014/main" id="{2E55AA4A-FA69-44BE-A659-9A4B5DB147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66348" y="3748882"/>
              <a:ext cx="58737" cy="55563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9" name="Oval 193">
              <a:extLst>
                <a:ext uri="{FF2B5EF4-FFF2-40B4-BE49-F238E27FC236}">
                  <a16:creationId xmlns:a16="http://schemas.microsoft.com/office/drawing/2014/main" id="{EDA9F321-DF62-40B9-ADE9-766539E6349D}"/>
                </a:ext>
              </a:extLst>
            </p:cNvPr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8362379" y="3628232"/>
              <a:ext cx="36000" cy="360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0" name="Oval 194">
              <a:extLst>
                <a:ext uri="{FF2B5EF4-FFF2-40B4-BE49-F238E27FC236}">
                  <a16:creationId xmlns:a16="http://schemas.microsoft.com/office/drawing/2014/main" id="{F2276B05-1D1C-4D32-BC27-DEBF160CA2F9}"/>
                </a:ext>
              </a:extLst>
            </p:cNvPr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8237761" y="3418682"/>
              <a:ext cx="26987" cy="2698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1" name="Oval 184">
              <a:extLst>
                <a:ext uri="{FF2B5EF4-FFF2-40B4-BE49-F238E27FC236}">
                  <a16:creationId xmlns:a16="http://schemas.microsoft.com/office/drawing/2014/main" id="{7B489EEB-FB07-4527-8CE7-37AE896652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23486" y="4320382"/>
              <a:ext cx="33337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2" name="Oval 185">
              <a:extLst>
                <a:ext uri="{FF2B5EF4-FFF2-40B4-BE49-F238E27FC236}">
                  <a16:creationId xmlns:a16="http://schemas.microsoft.com/office/drawing/2014/main" id="{63EB983C-9068-4BA6-92A4-3030B318B0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56811" y="4345782"/>
              <a:ext cx="33337" cy="34925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3" name="Oval 186">
              <a:extLst>
                <a:ext uri="{FF2B5EF4-FFF2-40B4-BE49-F238E27FC236}">
                  <a16:creationId xmlns:a16="http://schemas.microsoft.com/office/drawing/2014/main" id="{EFB332E5-8558-4573-AB86-1C284462F9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2673" y="4379119"/>
              <a:ext cx="34925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4" name="Oval 22">
              <a:extLst>
                <a:ext uri="{FF2B5EF4-FFF2-40B4-BE49-F238E27FC236}">
                  <a16:creationId xmlns:a16="http://schemas.microsoft.com/office/drawing/2014/main" id="{C23D3460-AAE7-4D70-B614-7F5A7072BCB3}"/>
                </a:ext>
              </a:extLst>
            </p:cNvPr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842598" y="4194969"/>
              <a:ext cx="57150" cy="5715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5" name="Freeform 8">
              <a:extLst>
                <a:ext uri="{FF2B5EF4-FFF2-40B4-BE49-F238E27FC236}">
                  <a16:creationId xmlns:a16="http://schemas.microsoft.com/office/drawing/2014/main" id="{343E9502-300B-4C04-8D87-22622020314C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8719369" y="2755901"/>
              <a:ext cx="1438670" cy="1438670"/>
            </a:xfrm>
            <a:prstGeom prst="arc">
              <a:avLst>
                <a:gd name="adj1" fmla="val 11100380"/>
                <a:gd name="adj2" fmla="val 14749325"/>
              </a:avLst>
            </a:prstGeom>
            <a:noFill/>
            <a:ln w="3175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6" name="Line 134">
              <a:extLst>
                <a:ext uri="{FF2B5EF4-FFF2-40B4-BE49-F238E27FC236}">
                  <a16:creationId xmlns:a16="http://schemas.microsoft.com/office/drawing/2014/main" id="{4B1D5C86-DADB-48D1-A9F1-C56D6A051B1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01793" y="3932237"/>
              <a:ext cx="1003582" cy="1005901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7" name="Oval 19">
              <a:extLst>
                <a:ext uri="{FF2B5EF4-FFF2-40B4-BE49-F238E27FC236}">
                  <a16:creationId xmlns:a16="http://schemas.microsoft.com/office/drawing/2014/main" id="{DAB6BB7F-E8EE-4705-9F81-8C5A33FFB2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14011" y="3215482"/>
              <a:ext cx="82550" cy="793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8" name="Oval 21">
              <a:extLst>
                <a:ext uri="{FF2B5EF4-FFF2-40B4-BE49-F238E27FC236}">
                  <a16:creationId xmlns:a16="http://schemas.microsoft.com/office/drawing/2014/main" id="{A8981E37-C0CE-4C48-89EA-7464DA8278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29886" y="3229769"/>
              <a:ext cx="50800" cy="508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</p:grpSp>
      <p:graphicFrame>
        <p:nvGraphicFramePr>
          <p:cNvPr id="79" name="Objekt 7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83" imgW="360" imgH="360" progId="TCLayout.ActiveDocument.1">
                  <p:embed/>
                </p:oleObj>
              </mc:Choice>
              <mc:Fallback>
                <p:oleObj name="think-cell Folie" r:id="rId83" imgW="360" imgH="360" progId="TCLayout.ActiveDocument.1">
                  <p:embed/>
                  <p:pic>
                    <p:nvPicPr>
                      <p:cNvPr id="79" name="Objek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1C16250-7489-488A-82B7-222C8BC69B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  <a:sym typeface="Fujitsu Sans" panose="020B040406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PRIMERGY  - RX2530 M6 &amp; RX2540 M6</a:t>
            </a:r>
            <a:endParaRPr lang="de-DE" dirty="0"/>
          </a:p>
        </p:txBody>
      </p:sp>
      <p:sp>
        <p:nvSpPr>
          <p:cNvPr id="161" name="Textfeld 160"/>
          <p:cNvSpPr txBox="1"/>
          <p:nvPr/>
        </p:nvSpPr>
        <p:spPr>
          <a:xfrm>
            <a:off x="6426964" y="4825484"/>
            <a:ext cx="2540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Umfassende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Supportangebo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verfügbar</a:t>
            </a:r>
          </a:p>
        </p:txBody>
      </p:sp>
      <p:sp>
        <p:nvSpPr>
          <p:cNvPr id="142" name="Rectangle 16">
            <a:extLst>
              <a:ext uri="{FF2B5EF4-FFF2-40B4-BE49-F238E27FC236}">
                <a16:creationId xmlns:a16="http://schemas.microsoft.com/office/drawing/2014/main" id="{129A745F-3508-4C13-BC80-54FBF9138DF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204152" y="2343821"/>
            <a:ext cx="2736000" cy="151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Mehr als genug Speicherflexibilität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                          mit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bis zu 12 x 3,5 Zoll SAS / SATA, bis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                          zu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4 x 2,5 Zoll SAS / SATA /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V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oder der Option, bis zu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64 x EDSFF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V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-Speicherlaufwerke zu verwenden (plus 6 x 2,5 Zoll Laufwerke als hintere Option)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er neue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DSFF-Speicherformfaktor auch            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Ruler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-Format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(Enterprise- und Datacenter-SSD-Formfaktor) bietet verbesserte Thermik, Leistung und Skalierbarkeit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43" name="Rectangle 17">
            <a:extLst>
              <a:ext uri="{FF2B5EF4-FFF2-40B4-BE49-F238E27FC236}">
                <a16:creationId xmlns:a16="http://schemas.microsoft.com/office/drawing/2014/main" id="{BC1ECB6A-A64C-45C3-85C0-2CF799145F0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156480" y="2343821"/>
            <a:ext cx="2736000" cy="151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Zentrale Steuerung des gesamten Rechenzentrums über eine einzige Benutzeroberfläche mit Fujitsu Infrastructure Manager (ISM)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eue abschließbare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Frontblende mit </a:t>
            </a: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                physischem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chutz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gegen unbefugten Zugriff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eue zusätzliche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Hardware - erweiterte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icherheitsfunktionen wie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lattform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Firmware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Resilienc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PFR)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51824" y="1767813"/>
            <a:ext cx="190721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Unglaubliche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 Performanc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4EA5D62-39BC-446A-9960-9D2C74297883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204152" y="1767813"/>
            <a:ext cx="190721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EINFACHE ERWEITERBARKEIT 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5E5C40FF-C530-49F1-A640-1F65524595ED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156480" y="1767813"/>
            <a:ext cx="190721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Management &amp; Security</a:t>
            </a:r>
            <a:endParaRPr kumimoji="0" lang="en-GB" sz="1200" b="0" i="0" u="none" strike="noStrike" kern="1200" cap="all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47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51617" y="2271917"/>
            <a:ext cx="2448000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8" name="Gerader Verbinder 181">
            <a:extLst>
              <a:ext uri="{FF2B5EF4-FFF2-40B4-BE49-F238E27FC236}">
                <a16:creationId xmlns:a16="http://schemas.microsoft.com/office/drawing/2014/main" id="{A7C643AE-117B-4A77-9FE5-7DAE2756CC8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3204152" y="2271917"/>
            <a:ext cx="2448000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Gerader Verbinder 181">
            <a:extLst>
              <a:ext uri="{FF2B5EF4-FFF2-40B4-BE49-F238E27FC236}">
                <a16:creationId xmlns:a16="http://schemas.microsoft.com/office/drawing/2014/main" id="{BD09AC59-E53B-48A5-9361-0AF3414F5F9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6156480" y="2271917"/>
            <a:ext cx="2448000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0" name="Rectangle 5">
            <a:extLst>
              <a:ext uri="{FF2B5EF4-FFF2-40B4-BE49-F238E27FC236}">
                <a16:creationId xmlns:a16="http://schemas.microsoft.com/office/drawing/2014/main" id="{CE5EC31C-25E5-4515-AA68-5793AC26C3E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51520" y="1479861"/>
            <a:ext cx="8640000" cy="216000"/>
          </a:xfrm>
          <a:prstGeom prst="rect">
            <a:avLst/>
          </a:prstGeom>
          <a:ln>
            <a:noFill/>
          </a:ln>
        </p:spPr>
        <p:txBody>
          <a:bodyPr wrap="square" lIns="0" tIns="0" rIns="0" bIns="7200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Einzigarti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Rechenzentrumsinfrastruk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oh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Kompromiss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B7C9D58E-5BBD-4F46-B923-345D95E7D38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360000" y="1695817"/>
            <a:ext cx="8424000" cy="0"/>
          </a:xfrm>
          <a:prstGeom prst="line">
            <a:avLst/>
          </a:prstGeom>
          <a:ln w="63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7E373B94-4F63-4FE0-A427-BD60D92DF2ED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575564" y="1551845"/>
            <a:ext cx="962480" cy="211114"/>
            <a:chOff x="791580" y="2859814"/>
            <a:chExt cx="962480" cy="211114"/>
          </a:xfrm>
        </p:grpSpPr>
        <p:grpSp>
          <p:nvGrpSpPr>
            <p:cNvPr id="153" name="Gruppieren 152">
              <a:extLst>
                <a:ext uri="{FF2B5EF4-FFF2-40B4-BE49-F238E27FC236}">
                  <a16:creationId xmlns:a16="http://schemas.microsoft.com/office/drawing/2014/main" id="{83C5E7D4-EDB9-4206-984F-0E8D59E70534}"/>
                </a:ext>
              </a:extLst>
            </p:cNvPr>
            <p:cNvGrpSpPr/>
            <p:nvPr>
              <p:custDataLst>
                <p:tags r:id="rId56"/>
              </p:custDataLst>
            </p:nvPr>
          </p:nvGrpSpPr>
          <p:grpSpPr bwMode="gray">
            <a:xfrm rot="5400000" flipH="1">
              <a:off x="1583757" y="2900626"/>
              <a:ext cx="26197" cy="314408"/>
              <a:chOff x="1331550" y="2283710"/>
              <a:chExt cx="18000" cy="216030"/>
            </a:xfrm>
            <a:solidFill>
              <a:schemeClr val="bg2"/>
            </a:solidFill>
          </p:grpSpPr>
          <p:sp>
            <p:nvSpPr>
              <p:cNvPr id="192" name="Ellipse 191">
                <a:extLst>
                  <a:ext uri="{FF2B5EF4-FFF2-40B4-BE49-F238E27FC236}">
                    <a16:creationId xmlns:a16="http://schemas.microsoft.com/office/drawing/2014/main" id="{08690920-3947-416C-BFCD-6ED61047D046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 bwMode="gray">
              <a:xfrm>
                <a:off x="1331550" y="228371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" name="Ellipse 192">
                <a:extLst>
                  <a:ext uri="{FF2B5EF4-FFF2-40B4-BE49-F238E27FC236}">
                    <a16:creationId xmlns:a16="http://schemas.microsoft.com/office/drawing/2014/main" id="{3D1005BA-F9E2-421B-AFF9-F127827BDFDD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 bwMode="gray">
              <a:xfrm>
                <a:off x="1331550" y="2333218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" name="Ellipse 193">
                <a:extLst>
                  <a:ext uri="{FF2B5EF4-FFF2-40B4-BE49-F238E27FC236}">
                    <a16:creationId xmlns:a16="http://schemas.microsoft.com/office/drawing/2014/main" id="{9D688B88-AE01-439E-BE80-22F943EAEA78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 bwMode="gray">
              <a:xfrm>
                <a:off x="1331550" y="2382726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" name="Ellipse 194">
                <a:extLst>
                  <a:ext uri="{FF2B5EF4-FFF2-40B4-BE49-F238E27FC236}">
                    <a16:creationId xmlns:a16="http://schemas.microsoft.com/office/drawing/2014/main" id="{C2CB7380-2CDF-48BE-BB88-D8794FEEE936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 bwMode="gray">
              <a:xfrm>
                <a:off x="1331550" y="2432234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6" name="Ellipse 195">
                <a:extLst>
                  <a:ext uri="{FF2B5EF4-FFF2-40B4-BE49-F238E27FC236}">
                    <a16:creationId xmlns:a16="http://schemas.microsoft.com/office/drawing/2014/main" id="{227066D0-1AAF-429F-A99C-C58CFC079810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 bwMode="gray">
              <a:xfrm>
                <a:off x="1331550" y="248174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C5B7FFFC-DD37-42A7-8E20-1670EFE8D076}"/>
                </a:ext>
              </a:extLst>
            </p:cNvPr>
            <p:cNvGrpSpPr>
              <a:grpSpLocks noChangeAspect="1"/>
            </p:cNvGrpSpPr>
            <p:nvPr>
              <p:custDataLst>
                <p:tags r:id="rId57"/>
              </p:custDataLst>
            </p:nvPr>
          </p:nvGrpSpPr>
          <p:grpSpPr bwMode="gray">
            <a:xfrm rot="5400000" flipH="1">
              <a:off x="1527323" y="2835765"/>
              <a:ext cx="17462" cy="209576"/>
              <a:chOff x="1331550" y="2283710"/>
              <a:chExt cx="18000" cy="216030"/>
            </a:xfrm>
            <a:solidFill>
              <a:schemeClr val="bg2"/>
            </a:solidFill>
          </p:grpSpPr>
          <p:sp>
            <p:nvSpPr>
              <p:cNvPr id="156" name="Ellipse 155">
                <a:extLst>
                  <a:ext uri="{FF2B5EF4-FFF2-40B4-BE49-F238E27FC236}">
                    <a16:creationId xmlns:a16="http://schemas.microsoft.com/office/drawing/2014/main" id="{F1210CF1-A3F4-4B50-97EC-103F048EB651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 bwMode="gray">
              <a:xfrm>
                <a:off x="1331550" y="228371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7" name="Ellipse 156">
                <a:extLst>
                  <a:ext uri="{FF2B5EF4-FFF2-40B4-BE49-F238E27FC236}">
                    <a16:creationId xmlns:a16="http://schemas.microsoft.com/office/drawing/2014/main" id="{4D6F44B0-6774-4673-A6E6-49FADF68D2AD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 bwMode="gray">
              <a:xfrm>
                <a:off x="1331550" y="2333218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8" name="Ellipse 157">
                <a:extLst>
                  <a:ext uri="{FF2B5EF4-FFF2-40B4-BE49-F238E27FC236}">
                    <a16:creationId xmlns:a16="http://schemas.microsoft.com/office/drawing/2014/main" id="{5EC61E2B-069C-4E2C-8E41-7753FC0BC9C1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 bwMode="gray">
              <a:xfrm>
                <a:off x="1331550" y="2382726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9" name="Ellipse 158">
                <a:extLst>
                  <a:ext uri="{FF2B5EF4-FFF2-40B4-BE49-F238E27FC236}">
                    <a16:creationId xmlns:a16="http://schemas.microsoft.com/office/drawing/2014/main" id="{D24B9B90-252F-4C82-ADFA-E04D444E0ACE}"/>
                  </a:ext>
                </a:extLst>
              </p:cNvPr>
              <p:cNvSpPr/>
              <p:nvPr>
                <p:custDataLst>
                  <p:tags r:id="rId62"/>
                </p:custDataLst>
              </p:nvPr>
            </p:nvSpPr>
            <p:spPr bwMode="gray">
              <a:xfrm>
                <a:off x="1331550" y="2432234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0" name="Ellipse 159">
                <a:extLst>
                  <a:ext uri="{FF2B5EF4-FFF2-40B4-BE49-F238E27FC236}">
                    <a16:creationId xmlns:a16="http://schemas.microsoft.com/office/drawing/2014/main" id="{11DDB198-CEE0-4530-99E9-C48B607A9121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 bwMode="gray">
              <a:xfrm>
                <a:off x="1331550" y="248174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</p:grpSp>
        <p:cxnSp>
          <p:nvCxnSpPr>
            <p:cNvPr id="155" name="Gerader Verbinder 154">
              <a:extLst>
                <a:ext uri="{FF2B5EF4-FFF2-40B4-BE49-F238E27FC236}">
                  <a16:creationId xmlns:a16="http://schemas.microsoft.com/office/drawing/2014/main" id="{70B43D79-DB58-4C95-B2C9-290986BCF696}"/>
                </a:ext>
              </a:extLst>
            </p:cNvPr>
            <p:cNvCxnSpPr>
              <a:cxnSpLocks/>
            </p:cNvCxnSpPr>
            <p:nvPr>
              <p:custDataLst>
                <p:tags r:id="rId58"/>
              </p:custDataLst>
            </p:nvPr>
          </p:nvCxnSpPr>
          <p:spPr bwMode="gray">
            <a:xfrm flipH="1">
              <a:off x="791580" y="2859814"/>
              <a:ext cx="900092" cy="0"/>
            </a:xfrm>
            <a:prstGeom prst="line">
              <a:avLst/>
            </a:prstGeom>
            <a:ln w="635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CFA491D3-5E8E-404E-8045-116E272EF796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 rot="16200000">
            <a:off x="8241259" y="1499927"/>
            <a:ext cx="19063" cy="228789"/>
            <a:chOff x="1331550" y="2283710"/>
            <a:chExt cx="18000" cy="216030"/>
          </a:xfrm>
          <a:solidFill>
            <a:schemeClr val="bg2"/>
          </a:solidFill>
        </p:grpSpPr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48F875B2-49B7-4F63-922C-9FA7C32ABEFA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gray">
            <a:xfrm>
              <a:off x="1331550" y="228371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199" name="Ellipse 198">
              <a:extLst>
                <a:ext uri="{FF2B5EF4-FFF2-40B4-BE49-F238E27FC236}">
                  <a16:creationId xmlns:a16="http://schemas.microsoft.com/office/drawing/2014/main" id="{FBFC95B6-4508-44FC-895B-2976B21A1A75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1331550" y="2333218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0" name="Ellipse 199">
              <a:extLst>
                <a:ext uri="{FF2B5EF4-FFF2-40B4-BE49-F238E27FC236}">
                  <a16:creationId xmlns:a16="http://schemas.microsoft.com/office/drawing/2014/main" id="{BD4FC1B5-1988-4D2D-A28B-DEB6122D370E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gray">
            <a:xfrm>
              <a:off x="1331550" y="2382726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id="{3DA0BC97-DB11-4085-B09D-03658562C18E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1331550" y="2432234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id="{C6D433A3-7D62-4599-8268-B1494194CD17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gray">
            <a:xfrm>
              <a:off x="1331550" y="248174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3" name="Gruppieren 202">
            <a:extLst>
              <a:ext uri="{FF2B5EF4-FFF2-40B4-BE49-F238E27FC236}">
                <a16:creationId xmlns:a16="http://schemas.microsoft.com/office/drawing/2014/main" id="{ADCF4382-8FA0-4A7B-808D-3E9EB9CAED36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gray">
          <a:xfrm rot="16200000">
            <a:off x="8134287" y="1409938"/>
            <a:ext cx="12707" cy="152505"/>
            <a:chOff x="1331550" y="2283710"/>
            <a:chExt cx="18000" cy="216030"/>
          </a:xfrm>
          <a:solidFill>
            <a:schemeClr val="bg2"/>
          </a:solidFill>
        </p:grpSpPr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78FBDBEC-141C-4E7F-95BA-555E2540D86A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1331550" y="228371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5" name="Ellipse 204">
              <a:extLst>
                <a:ext uri="{FF2B5EF4-FFF2-40B4-BE49-F238E27FC236}">
                  <a16:creationId xmlns:a16="http://schemas.microsoft.com/office/drawing/2014/main" id="{5BBFA190-601F-464C-A1D8-9D962906B55C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 bwMode="gray">
            <a:xfrm>
              <a:off x="1331550" y="2333218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6" name="Ellipse 205">
              <a:extLst>
                <a:ext uri="{FF2B5EF4-FFF2-40B4-BE49-F238E27FC236}">
                  <a16:creationId xmlns:a16="http://schemas.microsoft.com/office/drawing/2014/main" id="{6DA08459-D3F0-4168-B868-6A4A96D6E19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1331550" y="2382726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id="{462F8392-3BFA-4D74-8F5C-A517A41A64E1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gray">
            <a:xfrm>
              <a:off x="1331550" y="2432234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C4799DE6-7589-4D1A-8556-F9C10F77498B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1331550" y="248174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17EADD67-4726-4236-8072-A80C6038333C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8208404" y="1548667"/>
            <a:ext cx="360040" cy="0"/>
          </a:xfrm>
          <a:prstGeom prst="line">
            <a:avLst/>
          </a:prstGeom>
          <a:ln w="635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Pfeil: Chevron 180">
            <a:extLst>
              <a:ext uri="{FF2B5EF4-FFF2-40B4-BE49-F238E27FC236}">
                <a16:creationId xmlns:a16="http://schemas.microsoft.com/office/drawing/2014/main" id="{25FD1BD3-D854-43B0-B0E2-240AFFF96F3A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 bwMode="gray">
          <a:xfrm flipH="1">
            <a:off x="251520" y="1623853"/>
            <a:ext cx="95936" cy="143904"/>
          </a:xfrm>
          <a:prstGeom prst="chevron">
            <a:avLst>
              <a:gd name="adj" fmla="val 40995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211" name="Pfeil: Chevron 180">
            <a:extLst>
              <a:ext uri="{FF2B5EF4-FFF2-40B4-BE49-F238E27FC236}">
                <a16:creationId xmlns:a16="http://schemas.microsoft.com/office/drawing/2014/main" id="{D31F464A-4515-4C61-8507-C3BC13B53AF8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 bwMode="gray">
          <a:xfrm>
            <a:off x="8796544" y="1623853"/>
            <a:ext cx="95936" cy="143904"/>
          </a:xfrm>
          <a:prstGeom prst="chevron">
            <a:avLst>
              <a:gd name="adj" fmla="val 40995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5CE9BB00-1FAB-4D22-8A54-0482FDE2C573}"/>
              </a:ext>
            </a:extLst>
          </p:cNvPr>
          <p:cNvGrpSpPr/>
          <p:nvPr>
            <p:custDataLst>
              <p:tags r:id="rId22"/>
            </p:custDataLst>
          </p:nvPr>
        </p:nvGrpSpPr>
        <p:grpSpPr bwMode="gray">
          <a:xfrm>
            <a:off x="5292152" y="1947849"/>
            <a:ext cx="648000" cy="648000"/>
            <a:chOff x="3828279" y="1432180"/>
            <a:chExt cx="1486748" cy="1486748"/>
          </a:xfrm>
        </p:grpSpPr>
        <p:sp>
          <p:nvSpPr>
            <p:cNvPr id="213" name="Ellipse 212">
              <a:extLst>
                <a:ext uri="{FF2B5EF4-FFF2-40B4-BE49-F238E27FC236}">
                  <a16:creationId xmlns:a16="http://schemas.microsoft.com/office/drawing/2014/main" id="{6BAA3771-C7D5-417A-B311-66D1116E13B6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gray">
            <a:xfrm>
              <a:off x="3828279" y="1432180"/>
              <a:ext cx="1486748" cy="1486748"/>
            </a:xfrm>
            <a:prstGeom prst="ellipse">
              <a:avLst/>
            </a:prstGeom>
            <a:solidFill>
              <a:schemeClr val="bg1"/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14" name="Gruppieren 213">
              <a:extLst>
                <a:ext uri="{FF2B5EF4-FFF2-40B4-BE49-F238E27FC236}">
                  <a16:creationId xmlns:a16="http://schemas.microsoft.com/office/drawing/2014/main" id="{B1B84500-B801-418B-81F1-770A9AB638D7}"/>
                </a:ext>
              </a:extLst>
            </p:cNvPr>
            <p:cNvGrpSpPr/>
            <p:nvPr>
              <p:custDataLst>
                <p:tags r:id="rId40"/>
              </p:custDataLst>
            </p:nvPr>
          </p:nvGrpSpPr>
          <p:grpSpPr bwMode="gray">
            <a:xfrm>
              <a:off x="3917057" y="1520956"/>
              <a:ext cx="1309195" cy="1309195"/>
              <a:chOff x="4445658" y="1142502"/>
              <a:chExt cx="405085" cy="405085"/>
            </a:xfrm>
          </p:grpSpPr>
          <p:sp>
            <p:nvSpPr>
              <p:cNvPr id="217" name="Bogen 216">
                <a:extLst>
                  <a:ext uri="{FF2B5EF4-FFF2-40B4-BE49-F238E27FC236}">
                    <a16:creationId xmlns:a16="http://schemas.microsoft.com/office/drawing/2014/main" id="{DD9B21EB-03FB-455A-A354-48AB6B534863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 bwMode="gray">
              <a:xfrm flipH="1" flipV="1">
                <a:off x="4445658" y="1142502"/>
                <a:ext cx="405085" cy="405085"/>
              </a:xfrm>
              <a:prstGeom prst="arc">
                <a:avLst>
                  <a:gd name="adj1" fmla="val 2361521"/>
                  <a:gd name="adj2" fmla="val 8003834"/>
                </a:avLst>
              </a:prstGeom>
              <a:noFill/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" name="Bogen 196">
                <a:extLst>
                  <a:ext uri="{FF2B5EF4-FFF2-40B4-BE49-F238E27FC236}">
                    <a16:creationId xmlns:a16="http://schemas.microsoft.com/office/drawing/2014/main" id="{2513FD87-14FB-4582-A5DC-906E7EB92F9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 bwMode="gray">
              <a:xfrm>
                <a:off x="4445697" y="1142543"/>
                <a:ext cx="405005" cy="405005"/>
              </a:xfrm>
              <a:prstGeom prst="blockArc">
                <a:avLst>
                  <a:gd name="adj1" fmla="val 19524090"/>
                  <a:gd name="adj2" fmla="val 36954"/>
                  <a:gd name="adj3" fmla="val 4419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63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" name="Halbbogen 218">
                <a:extLst>
                  <a:ext uri="{FF2B5EF4-FFF2-40B4-BE49-F238E27FC236}">
                    <a16:creationId xmlns:a16="http://schemas.microsoft.com/office/drawing/2014/main" id="{17775859-8552-4567-A696-5AF31BCCB489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 bwMode="gray">
              <a:xfrm flipH="1" flipV="1">
                <a:off x="4445658" y="1142502"/>
                <a:ext cx="405085" cy="405085"/>
              </a:xfrm>
              <a:prstGeom prst="blockArc">
                <a:avLst>
                  <a:gd name="adj1" fmla="val 16595167"/>
                  <a:gd name="adj2" fmla="val 21563050"/>
                  <a:gd name="adj3" fmla="val 4423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63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15" name="Bogen 214">
              <a:extLst>
                <a:ext uri="{FF2B5EF4-FFF2-40B4-BE49-F238E27FC236}">
                  <a16:creationId xmlns:a16="http://schemas.microsoft.com/office/drawing/2014/main" id="{8EB65406-8C1B-42AE-9253-80D8732B2D40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3844395" y="1448294"/>
              <a:ext cx="1454517" cy="1454517"/>
            </a:xfrm>
            <a:prstGeom prst="arc">
              <a:avLst>
                <a:gd name="adj1" fmla="val 21133840"/>
                <a:gd name="adj2" fmla="val 4878753"/>
              </a:avLst>
            </a:prstGeom>
            <a:noFill/>
            <a:ln w="19050" cap="rnd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16" name="Bogen 215">
              <a:extLst>
                <a:ext uri="{FF2B5EF4-FFF2-40B4-BE49-F238E27FC236}">
                  <a16:creationId xmlns:a16="http://schemas.microsoft.com/office/drawing/2014/main" id="{4021D99B-72C0-4E58-A93A-A77B14AE92D4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gray">
            <a:xfrm>
              <a:off x="3844395" y="1448294"/>
              <a:ext cx="1454517" cy="1454517"/>
            </a:xfrm>
            <a:prstGeom prst="arc">
              <a:avLst>
                <a:gd name="adj1" fmla="val 10808778"/>
                <a:gd name="adj2" fmla="val 14188409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20" name="Ellipse 219">
            <a:extLst>
              <a:ext uri="{FF2B5EF4-FFF2-40B4-BE49-F238E27FC236}">
                <a16:creationId xmlns:a16="http://schemas.microsoft.com/office/drawing/2014/main" id="{30676330-B29A-4098-A513-500431CEA9F3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2339824" y="1947849"/>
            <a:ext cx="648000" cy="648000"/>
          </a:xfrm>
          <a:prstGeom prst="ellipse">
            <a:avLst/>
          </a:prstGeom>
          <a:solidFill>
            <a:schemeClr val="bg1"/>
          </a:solidFill>
          <a:ln w="19050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21B691F8-9EA1-4822-93C6-655FEB4AA73F}"/>
              </a:ext>
            </a:extLst>
          </p:cNvPr>
          <p:cNvGrpSpPr/>
          <p:nvPr>
            <p:custDataLst>
              <p:tags r:id="rId24"/>
            </p:custDataLst>
          </p:nvPr>
        </p:nvGrpSpPr>
        <p:grpSpPr bwMode="gray">
          <a:xfrm>
            <a:off x="2378518" y="1986542"/>
            <a:ext cx="570613" cy="570613"/>
            <a:chOff x="4445658" y="1142502"/>
            <a:chExt cx="405085" cy="405085"/>
          </a:xfrm>
        </p:grpSpPr>
        <p:sp>
          <p:nvSpPr>
            <p:cNvPr id="222" name="Bogen 221">
              <a:extLst>
                <a:ext uri="{FF2B5EF4-FFF2-40B4-BE49-F238E27FC236}">
                  <a16:creationId xmlns:a16="http://schemas.microsoft.com/office/drawing/2014/main" id="{43CC6209-32B8-40F5-BDE2-497EBCD96651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 flipH="1" flipV="1">
              <a:off x="4445658" y="1142502"/>
              <a:ext cx="405085" cy="405085"/>
            </a:xfrm>
            <a:prstGeom prst="arc">
              <a:avLst>
                <a:gd name="adj1" fmla="val 2361521"/>
                <a:gd name="adj2" fmla="val 8003834"/>
              </a:avLst>
            </a:prstGeom>
            <a:noFill/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23" name="Bogen 196">
              <a:extLst>
                <a:ext uri="{FF2B5EF4-FFF2-40B4-BE49-F238E27FC236}">
                  <a16:creationId xmlns:a16="http://schemas.microsoft.com/office/drawing/2014/main" id="{490DB766-B85B-4665-A506-ED54077B808F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gray">
            <a:xfrm>
              <a:off x="4445697" y="1142543"/>
              <a:ext cx="405005" cy="405005"/>
            </a:xfrm>
            <a:prstGeom prst="blockArc">
              <a:avLst>
                <a:gd name="adj1" fmla="val 19524090"/>
                <a:gd name="adj2" fmla="val 36954"/>
                <a:gd name="adj3" fmla="val 4419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24" name="Halbbogen 223">
              <a:extLst>
                <a:ext uri="{FF2B5EF4-FFF2-40B4-BE49-F238E27FC236}">
                  <a16:creationId xmlns:a16="http://schemas.microsoft.com/office/drawing/2014/main" id="{E203AAE1-AF41-45D2-92FE-DD2EEB3002BE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 flipH="1" flipV="1">
              <a:off x="4445658" y="1142502"/>
              <a:ext cx="405085" cy="405085"/>
            </a:xfrm>
            <a:prstGeom prst="blockArc">
              <a:avLst>
                <a:gd name="adj1" fmla="val 16595167"/>
                <a:gd name="adj2" fmla="val 21563050"/>
                <a:gd name="adj3" fmla="val 4423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25" name="Bogen 224">
            <a:extLst>
              <a:ext uri="{FF2B5EF4-FFF2-40B4-BE49-F238E27FC236}">
                <a16:creationId xmlns:a16="http://schemas.microsoft.com/office/drawing/2014/main" id="{63CBF6AB-632F-4D37-965D-A4A7CE1E0471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2346848" y="1954872"/>
            <a:ext cx="633952" cy="633952"/>
          </a:xfrm>
          <a:prstGeom prst="arc">
            <a:avLst>
              <a:gd name="adj1" fmla="val 21133840"/>
              <a:gd name="adj2" fmla="val 4878753"/>
            </a:avLst>
          </a:prstGeom>
          <a:noFill/>
          <a:ln w="19050" cap="rnd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sp>
        <p:nvSpPr>
          <p:cNvPr id="226" name="Bogen 225">
            <a:extLst>
              <a:ext uri="{FF2B5EF4-FFF2-40B4-BE49-F238E27FC236}">
                <a16:creationId xmlns:a16="http://schemas.microsoft.com/office/drawing/2014/main" id="{DD574AAB-7D11-4D63-A626-0A509A400F27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2346848" y="1954872"/>
            <a:ext cx="633952" cy="633952"/>
          </a:xfrm>
          <a:prstGeom prst="arc">
            <a:avLst>
              <a:gd name="adj1" fmla="val 10808778"/>
              <a:gd name="adj2" fmla="val 14188409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A63391BD-2E83-4E82-88B9-334CA6AEFF04}"/>
              </a:ext>
            </a:extLst>
          </p:cNvPr>
          <p:cNvGrpSpPr/>
          <p:nvPr>
            <p:custDataLst>
              <p:tags r:id="rId27"/>
            </p:custDataLst>
          </p:nvPr>
        </p:nvGrpSpPr>
        <p:grpSpPr bwMode="gray">
          <a:xfrm>
            <a:off x="8244480" y="1947849"/>
            <a:ext cx="648000" cy="648000"/>
            <a:chOff x="6781106" y="1432180"/>
            <a:chExt cx="1486748" cy="1486748"/>
          </a:xfrm>
        </p:grpSpPr>
        <p:sp>
          <p:nvSpPr>
            <p:cNvPr id="228" name="Ellipse 227">
              <a:extLst>
                <a:ext uri="{FF2B5EF4-FFF2-40B4-BE49-F238E27FC236}">
                  <a16:creationId xmlns:a16="http://schemas.microsoft.com/office/drawing/2014/main" id="{0BB9E1FA-BE7B-43E4-88AC-A2FD0E6D541F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6781106" y="1432180"/>
              <a:ext cx="1486748" cy="1486748"/>
            </a:xfrm>
            <a:prstGeom prst="ellipse">
              <a:avLst/>
            </a:prstGeom>
            <a:solidFill>
              <a:schemeClr val="bg1"/>
            </a:solidFill>
            <a:ln w="19050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29" name="Gruppieren 228">
              <a:extLst>
                <a:ext uri="{FF2B5EF4-FFF2-40B4-BE49-F238E27FC236}">
                  <a16:creationId xmlns:a16="http://schemas.microsoft.com/office/drawing/2014/main" id="{FE996C86-45B9-4D44-89A2-1F3D8AEC174D}"/>
                </a:ext>
              </a:extLst>
            </p:cNvPr>
            <p:cNvGrpSpPr/>
            <p:nvPr>
              <p:custDataLst>
                <p:tags r:id="rId30"/>
              </p:custDataLst>
            </p:nvPr>
          </p:nvGrpSpPr>
          <p:grpSpPr bwMode="gray">
            <a:xfrm>
              <a:off x="6869884" y="1520956"/>
              <a:ext cx="1309195" cy="1309195"/>
              <a:chOff x="4445658" y="1142502"/>
              <a:chExt cx="405085" cy="405085"/>
            </a:xfrm>
          </p:grpSpPr>
          <p:sp>
            <p:nvSpPr>
              <p:cNvPr id="232" name="Bogen 231">
                <a:extLst>
                  <a:ext uri="{FF2B5EF4-FFF2-40B4-BE49-F238E27FC236}">
                    <a16:creationId xmlns:a16="http://schemas.microsoft.com/office/drawing/2014/main" id="{707C96C5-6D51-4150-8B66-30354EFA33A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 bwMode="gray">
              <a:xfrm flipH="1" flipV="1">
                <a:off x="4445658" y="1142502"/>
                <a:ext cx="405085" cy="405085"/>
              </a:xfrm>
              <a:prstGeom prst="arc">
                <a:avLst>
                  <a:gd name="adj1" fmla="val 2361521"/>
                  <a:gd name="adj2" fmla="val 8003834"/>
                </a:avLst>
              </a:prstGeom>
              <a:noFill/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3" name="Bogen 196">
                <a:extLst>
                  <a:ext uri="{FF2B5EF4-FFF2-40B4-BE49-F238E27FC236}">
                    <a16:creationId xmlns:a16="http://schemas.microsoft.com/office/drawing/2014/main" id="{841BEAD2-4F95-41D6-AD43-37043BB35F3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 bwMode="gray">
              <a:xfrm>
                <a:off x="4445697" y="1142543"/>
                <a:ext cx="405005" cy="405005"/>
              </a:xfrm>
              <a:prstGeom prst="blockArc">
                <a:avLst>
                  <a:gd name="adj1" fmla="val 19524090"/>
                  <a:gd name="adj2" fmla="val 36954"/>
                  <a:gd name="adj3" fmla="val 4419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63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4" name="Halbbogen 233">
                <a:extLst>
                  <a:ext uri="{FF2B5EF4-FFF2-40B4-BE49-F238E27FC236}">
                    <a16:creationId xmlns:a16="http://schemas.microsoft.com/office/drawing/2014/main" id="{3F22D892-B64E-4962-AD69-726F352BE9B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 bwMode="gray">
              <a:xfrm flipH="1" flipV="1">
                <a:off x="4445658" y="1142502"/>
                <a:ext cx="405085" cy="405085"/>
              </a:xfrm>
              <a:prstGeom prst="blockArc">
                <a:avLst>
                  <a:gd name="adj1" fmla="val 16595167"/>
                  <a:gd name="adj2" fmla="val 21563050"/>
                  <a:gd name="adj3" fmla="val 4423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63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" panose="020B040406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30" name="Bogen 229">
              <a:extLst>
                <a:ext uri="{FF2B5EF4-FFF2-40B4-BE49-F238E27FC236}">
                  <a16:creationId xmlns:a16="http://schemas.microsoft.com/office/drawing/2014/main" id="{F56C1341-168F-4AE8-8799-C637ADAB9E1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6797222" y="1448294"/>
              <a:ext cx="1454517" cy="1454517"/>
            </a:xfrm>
            <a:prstGeom prst="arc">
              <a:avLst>
                <a:gd name="adj1" fmla="val 21133840"/>
                <a:gd name="adj2" fmla="val 4878753"/>
              </a:avLst>
            </a:prstGeom>
            <a:noFill/>
            <a:ln w="19050" cap="rnd">
              <a:solidFill>
                <a:schemeClr val="accent6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  <p:sp>
          <p:nvSpPr>
            <p:cNvPr id="231" name="Bogen 230">
              <a:extLst>
                <a:ext uri="{FF2B5EF4-FFF2-40B4-BE49-F238E27FC236}">
                  <a16:creationId xmlns:a16="http://schemas.microsoft.com/office/drawing/2014/main" id="{65EE153F-0E6F-4F8C-A480-F4EA8AD11F1A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6797222" y="1448294"/>
              <a:ext cx="1454517" cy="1454517"/>
            </a:xfrm>
            <a:prstGeom prst="arc">
              <a:avLst>
                <a:gd name="adj1" fmla="val 10808778"/>
                <a:gd name="adj2" fmla="val 14188409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35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251824" y="2343821"/>
            <a:ext cx="2736000" cy="151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Verbesserte Leistung pro Kern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                                  </a:t>
            </a: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8 - 40 Kerne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ro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ockel und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chnellerer UPI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mit 3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Verbindungen bei 11,2 GT / 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euer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Optan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Persistent Memory 200 SERIES mit bis zu 512 GB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Mem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für bis zu 6 TB / Sockel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(DDR4 +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Me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rhöhte Speicherkapazität mit bis zu 8 Kanälen bei verbesserter Speicherleistung mit Unterstützung für DIMMs mit bis zu 3200MT /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xpress </a:t>
            </a: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.0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bis zu 8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teckplätze),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mit 64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Lanes (pro Socket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) und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zusätzlichen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ynamicL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-Steckplätzen über OCPv3  </a:t>
            </a:r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pic>
        <p:nvPicPr>
          <p:cNvPr id="236" name="Grafik 235"/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2495921" y="2076723"/>
            <a:ext cx="358806" cy="362159"/>
          </a:xfrm>
          <a:prstGeom prst="rect">
            <a:avLst/>
          </a:prstGeom>
        </p:spPr>
      </p:pic>
      <p:pic>
        <p:nvPicPr>
          <p:cNvPr id="237" name="Grafik 236"/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8381512" y="2122907"/>
            <a:ext cx="396000" cy="266613"/>
          </a:xfrm>
          <a:prstGeom prst="rect">
            <a:avLst/>
          </a:prstGeom>
        </p:spPr>
      </p:pic>
      <p:pic>
        <p:nvPicPr>
          <p:cNvPr id="238" name="Grafik 237"/>
          <p:cNvPicPr>
            <a:picLocks noChangeAspect="1"/>
          </p:cNvPicPr>
          <p:nvPr/>
        </p:nvPicPr>
        <p:blipFill>
          <a:blip r:embed="rId87"/>
          <a:stretch>
            <a:fillRect/>
          </a:stretch>
        </p:blipFill>
        <p:spPr>
          <a:xfrm>
            <a:off x="5410053" y="2059725"/>
            <a:ext cx="396000" cy="3960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8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482" y="3838705"/>
            <a:ext cx="3177856" cy="1285059"/>
          </a:xfrm>
          <a:prstGeom prst="rect">
            <a:avLst/>
          </a:prstGeom>
        </p:spPr>
      </p:pic>
      <p:sp>
        <p:nvSpPr>
          <p:cNvPr id="132" name="Rechteck 131"/>
          <p:cNvSpPr/>
          <p:nvPr/>
        </p:nvSpPr>
        <p:spPr>
          <a:xfrm>
            <a:off x="179512" y="4950629"/>
            <a:ext cx="803832" cy="1688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jitsu Sans 202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333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143" grpId="0"/>
      <p:bldP spid="145" grpId="0"/>
      <p:bldP spid="14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6AFE615-B491-4F7A-A0C3-C335E4F1D1A6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7001793" y="2650529"/>
            <a:ext cx="3261617" cy="2295515"/>
            <a:chOff x="7001793" y="2650529"/>
            <a:chExt cx="3261617" cy="2295515"/>
          </a:xfrm>
        </p:grpSpPr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14864034-654A-4C49-9506-A4ECD1BCB158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8613997" y="2650529"/>
              <a:ext cx="1649413" cy="1649413"/>
            </a:xfrm>
            <a:prstGeom prst="arc">
              <a:avLst>
                <a:gd name="adj1" fmla="val 11100380"/>
                <a:gd name="adj2" fmla="val 14937073"/>
              </a:avLst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7" name="Oval 115">
              <a:extLst>
                <a:ext uri="{FF2B5EF4-FFF2-40B4-BE49-F238E27FC236}">
                  <a16:creationId xmlns:a16="http://schemas.microsoft.com/office/drawing/2014/main" id="{D4179DE5-1C8E-48CC-9A03-43706A2D4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39436" y="4056857"/>
              <a:ext cx="201612" cy="2032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8" name="Oval 116">
              <a:extLst>
                <a:ext uri="{FF2B5EF4-FFF2-40B4-BE49-F238E27FC236}">
                  <a16:creationId xmlns:a16="http://schemas.microsoft.com/office/drawing/2014/main" id="{1C7B8978-BE00-4D74-9ADF-5D6CC8B81A11}"/>
                </a:ext>
              </a:extLst>
            </p:cNvPr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9007698" y="41251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69" name="Oval 117">
              <a:extLst>
                <a:ext uri="{FF2B5EF4-FFF2-40B4-BE49-F238E27FC236}">
                  <a16:creationId xmlns:a16="http://schemas.microsoft.com/office/drawing/2014/main" id="{9C58E124-A65A-45B6-8D2D-5E12449327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75948" y="4094957"/>
              <a:ext cx="128587" cy="127000"/>
            </a:xfrm>
            <a:prstGeom prst="ellipse">
              <a:avLst/>
            </a:pr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1" name="Oval 121">
              <a:extLst>
                <a:ext uri="{FF2B5EF4-FFF2-40B4-BE49-F238E27FC236}">
                  <a16:creationId xmlns:a16="http://schemas.microsoft.com/office/drawing/2014/main" id="{0F90892D-E326-4C7F-877E-BAAA45C52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93336" y="4194969"/>
              <a:ext cx="200025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2" name="Oval 122">
              <a:extLst>
                <a:ext uri="{FF2B5EF4-FFF2-40B4-BE49-F238E27FC236}">
                  <a16:creationId xmlns:a16="http://schemas.microsoft.com/office/drawing/2014/main" id="{D2606469-C9AE-4F56-A690-377AFCA856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4263232"/>
              <a:ext cx="66675" cy="666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3" name="Oval 123">
              <a:extLst>
                <a:ext uri="{FF2B5EF4-FFF2-40B4-BE49-F238E27FC236}">
                  <a16:creationId xmlns:a16="http://schemas.microsoft.com/office/drawing/2014/main" id="{E81F442A-53E8-4E30-B97F-8031FAE33BA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29848" y="4231482"/>
              <a:ext cx="127000" cy="1285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4" name="Line 125">
              <a:extLst>
                <a:ext uri="{FF2B5EF4-FFF2-40B4-BE49-F238E27FC236}">
                  <a16:creationId xmlns:a16="http://schemas.microsoft.com/office/drawing/2014/main" id="{E8DCEB8F-01DE-4464-A4F5-E9B8276157C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7990111" y="4177507"/>
              <a:ext cx="252412" cy="25400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5" name="Line 126">
              <a:extLst>
                <a:ext uri="{FF2B5EF4-FFF2-40B4-BE49-F238E27FC236}">
                  <a16:creationId xmlns:a16="http://schemas.microsoft.com/office/drawing/2014/main" id="{51932E62-D4F0-42C1-93BA-96EFD4EEFE6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45673" y="4153694"/>
              <a:ext cx="158750" cy="158750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7" name="Line 127">
              <a:extLst>
                <a:ext uri="{FF2B5EF4-FFF2-40B4-BE49-F238E27FC236}">
                  <a16:creationId xmlns:a16="http://schemas.microsoft.com/office/drawing/2014/main" id="{C09F8899-A6C4-4CC4-83AD-59B86ABEB48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077423" y="4112419"/>
              <a:ext cx="101600" cy="104775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78" name="Oval 128">
              <a:extLst>
                <a:ext uri="{FF2B5EF4-FFF2-40B4-BE49-F238E27FC236}">
                  <a16:creationId xmlns:a16="http://schemas.microsoft.com/office/drawing/2014/main" id="{87AB0555-B788-451E-9EE6-55E49BE605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9023" y="3982244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84" name="Oval 129">
              <a:extLst>
                <a:ext uri="{FF2B5EF4-FFF2-40B4-BE49-F238E27FC236}">
                  <a16:creationId xmlns:a16="http://schemas.microsoft.com/office/drawing/2014/main" id="{F451266B-183F-47BA-A40D-869006CB09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47286" y="4048919"/>
              <a:ext cx="65087" cy="6826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0" name="Oval 130">
              <a:extLst>
                <a:ext uri="{FF2B5EF4-FFF2-40B4-BE49-F238E27FC236}">
                  <a16:creationId xmlns:a16="http://schemas.microsoft.com/office/drawing/2014/main" id="{C25EB198-AA14-4161-9ADC-BFFEDACC975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5536" y="4020344"/>
              <a:ext cx="128587" cy="1254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1" name="Oval 131">
              <a:extLst>
                <a:ext uri="{FF2B5EF4-FFF2-40B4-BE49-F238E27FC236}">
                  <a16:creationId xmlns:a16="http://schemas.microsoft.com/office/drawing/2014/main" id="{F1D39C35-C733-43D6-9AAD-AA153DCC61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64711" y="3769519"/>
              <a:ext cx="203200" cy="2016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2" name="Oval 132">
              <a:extLst>
                <a:ext uri="{FF2B5EF4-FFF2-40B4-BE49-F238E27FC236}">
                  <a16:creationId xmlns:a16="http://schemas.microsoft.com/office/drawing/2014/main" id="{C33DA1E9-048F-4BCB-B8BF-C36D257192A8}"/>
                </a:ext>
              </a:extLst>
            </p:cNvPr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8034561" y="3837782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3" name="Line 134">
              <a:extLst>
                <a:ext uri="{FF2B5EF4-FFF2-40B4-BE49-F238E27FC236}">
                  <a16:creationId xmlns:a16="http://schemas.microsoft.com/office/drawing/2014/main" id="{1A62CD72-5651-495C-AB92-11FBC9C956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156699" y="4231481"/>
              <a:ext cx="709712" cy="711352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4" name="Line 135">
              <a:extLst>
                <a:ext uri="{FF2B5EF4-FFF2-40B4-BE49-F238E27FC236}">
                  <a16:creationId xmlns:a16="http://schemas.microsoft.com/office/drawing/2014/main" id="{B81BA3B1-CFD3-4E85-8715-585C9108BB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51923" y="4460081"/>
              <a:ext cx="484287" cy="4859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5" name="Line 137">
              <a:extLst>
                <a:ext uri="{FF2B5EF4-FFF2-40B4-BE49-F238E27FC236}">
                  <a16:creationId xmlns:a16="http://schemas.microsoft.com/office/drawing/2014/main" id="{10DB3049-370B-4B62-B9BB-3B92B8C4CC7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71123" y="3658394"/>
              <a:ext cx="358775" cy="3603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6" name="Line 138">
              <a:extLst>
                <a:ext uri="{FF2B5EF4-FFF2-40B4-BE49-F238E27FC236}">
                  <a16:creationId xmlns:a16="http://schemas.microsoft.com/office/drawing/2014/main" id="{2C7585C5-39E7-4BE2-8EDB-F434D5C4BA1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8432923" y="3617119"/>
              <a:ext cx="354112" cy="35255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7" name="Freeform 139">
              <a:extLst>
                <a:ext uri="{FF2B5EF4-FFF2-40B4-BE49-F238E27FC236}">
                  <a16:creationId xmlns:a16="http://schemas.microsoft.com/office/drawing/2014/main" id="{7EC9A6BA-E6B0-44D8-8A8E-46404E18E44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94948" y="3464719"/>
              <a:ext cx="277812" cy="236538"/>
            </a:xfrm>
            <a:custGeom>
              <a:avLst/>
              <a:gdLst>
                <a:gd name="T0" fmla="*/ 175 w 175"/>
                <a:gd name="T1" fmla="*/ 149 h 149"/>
                <a:gd name="T2" fmla="*/ 25 w 175"/>
                <a:gd name="T3" fmla="*/ 0 h 149"/>
                <a:gd name="T4" fmla="*/ 0 w 175"/>
                <a:gd name="T5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5" h="149">
                  <a:moveTo>
                    <a:pt x="175" y="149"/>
                  </a:moveTo>
                  <a:lnTo>
                    <a:pt x="25" y="0"/>
                  </a:lnTo>
                  <a:lnTo>
                    <a:pt x="0" y="23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99" name="Rectangle 146">
              <a:extLst>
                <a:ext uri="{FF2B5EF4-FFF2-40B4-BE49-F238E27FC236}">
                  <a16:creationId xmlns:a16="http://schemas.microsoft.com/office/drawing/2014/main" id="{CB3CE32E-98FA-4B68-AB9B-E18DF2C326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0011" y="3501232"/>
              <a:ext cx="134937" cy="134938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2" name="Rectangle 147">
              <a:extLst>
                <a:ext uri="{FF2B5EF4-FFF2-40B4-BE49-F238E27FC236}">
                  <a16:creationId xmlns:a16="http://schemas.microsoft.com/office/drawing/2014/main" id="{35FB3C37-ED72-453B-A367-42FC5442D7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2236" y="3523457"/>
              <a:ext cx="92075" cy="9366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3" name="Rectangle 148">
              <a:extLst>
                <a:ext uri="{FF2B5EF4-FFF2-40B4-BE49-F238E27FC236}">
                  <a16:creationId xmlns:a16="http://schemas.microsoft.com/office/drawing/2014/main" id="{6950EE19-972E-4AAF-9AC1-DC2C3A440C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502873" y="3544094"/>
              <a:ext cx="49212" cy="49213"/>
            </a:xfrm>
            <a:prstGeom prst="rect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4" name="Rectangle 149">
              <a:extLst>
                <a:ext uri="{FF2B5EF4-FFF2-40B4-BE49-F238E27FC236}">
                  <a16:creationId xmlns:a16="http://schemas.microsoft.com/office/drawing/2014/main" id="{B6C410EA-C22B-4A16-9DB4-CF8A2FA2C0D1}"/>
                </a:ext>
              </a:extLst>
            </p:cNvPr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8672736" y="4220369"/>
              <a:ext cx="74612" cy="762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id="{6DB59AD9-788A-4FC6-8380-842F95D651FD}"/>
                </a:ext>
              </a:extLst>
            </p:cNvPr>
            <p:cNvSpPr>
              <a:spLocks/>
            </p:cNvSpPr>
            <p:nvPr/>
          </p:nvSpPr>
          <p:spPr bwMode="gray">
            <a:xfrm>
              <a:off x="7953598" y="3666332"/>
              <a:ext cx="69850" cy="68263"/>
            </a:xfrm>
            <a:custGeom>
              <a:avLst/>
              <a:gdLst>
                <a:gd name="T0" fmla="*/ 0 w 44"/>
                <a:gd name="T1" fmla="*/ 22 h 43"/>
                <a:gd name="T2" fmla="*/ 21 w 44"/>
                <a:gd name="T3" fmla="*/ 0 h 43"/>
                <a:gd name="T4" fmla="*/ 44 w 44"/>
                <a:gd name="T5" fmla="*/ 22 h 43"/>
                <a:gd name="T6" fmla="*/ 21 w 44"/>
                <a:gd name="T7" fmla="*/ 43 h 43"/>
                <a:gd name="T8" fmla="*/ 0 w 44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id="{41390600-BEE1-404B-A077-64A99B8043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904386" y="3717132"/>
              <a:ext cx="68262" cy="68263"/>
            </a:xfrm>
            <a:custGeom>
              <a:avLst/>
              <a:gdLst>
                <a:gd name="T0" fmla="*/ 0 w 43"/>
                <a:gd name="T1" fmla="*/ 21 h 43"/>
                <a:gd name="T2" fmla="*/ 22 w 43"/>
                <a:gd name="T3" fmla="*/ 0 h 43"/>
                <a:gd name="T4" fmla="*/ 43 w 43"/>
                <a:gd name="T5" fmla="*/ 21 h 43"/>
                <a:gd name="T6" fmla="*/ 22 w 43"/>
                <a:gd name="T7" fmla="*/ 43 h 43"/>
                <a:gd name="T8" fmla="*/ 0 w 43"/>
                <a:gd name="T9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1"/>
                  </a:moveTo>
                  <a:lnTo>
                    <a:pt x="22" y="0"/>
                  </a:lnTo>
                  <a:lnTo>
                    <a:pt x="43" y="21"/>
                  </a:lnTo>
                  <a:lnTo>
                    <a:pt x="22" y="43"/>
                  </a:lnTo>
                  <a:lnTo>
                    <a:pt x="0" y="21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id="{6E6BB764-778C-48BD-A3A5-A4619FE69F92}"/>
                </a:ext>
              </a:extLst>
            </p:cNvPr>
            <p:cNvSpPr>
              <a:spLocks/>
            </p:cNvSpPr>
            <p:nvPr/>
          </p:nvSpPr>
          <p:spPr bwMode="gray">
            <a:xfrm>
              <a:off x="7855173" y="3764757"/>
              <a:ext cx="69850" cy="71438"/>
            </a:xfrm>
            <a:custGeom>
              <a:avLst/>
              <a:gdLst>
                <a:gd name="T0" fmla="*/ 0 w 44"/>
                <a:gd name="T1" fmla="*/ 22 h 45"/>
                <a:gd name="T2" fmla="*/ 21 w 44"/>
                <a:gd name="T3" fmla="*/ 0 h 45"/>
                <a:gd name="T4" fmla="*/ 44 w 44"/>
                <a:gd name="T5" fmla="*/ 22 h 45"/>
                <a:gd name="T6" fmla="*/ 21 w 44"/>
                <a:gd name="T7" fmla="*/ 45 h 45"/>
                <a:gd name="T8" fmla="*/ 0 w 44"/>
                <a:gd name="T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5">
                  <a:moveTo>
                    <a:pt x="0" y="22"/>
                  </a:moveTo>
                  <a:lnTo>
                    <a:pt x="21" y="0"/>
                  </a:lnTo>
                  <a:lnTo>
                    <a:pt x="44" y="22"/>
                  </a:lnTo>
                  <a:lnTo>
                    <a:pt x="21" y="45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8" name="Freeform 177">
              <a:extLst>
                <a:ext uri="{FF2B5EF4-FFF2-40B4-BE49-F238E27FC236}">
                  <a16:creationId xmlns:a16="http://schemas.microsoft.com/office/drawing/2014/main" id="{0F057569-E45A-42EC-9F1F-B223C5929A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805961" y="3815557"/>
              <a:ext cx="68262" cy="68263"/>
            </a:xfrm>
            <a:custGeom>
              <a:avLst/>
              <a:gdLst>
                <a:gd name="T0" fmla="*/ 0 w 43"/>
                <a:gd name="T1" fmla="*/ 22 h 43"/>
                <a:gd name="T2" fmla="*/ 22 w 43"/>
                <a:gd name="T3" fmla="*/ 0 h 43"/>
                <a:gd name="T4" fmla="*/ 43 w 43"/>
                <a:gd name="T5" fmla="*/ 22 h 43"/>
                <a:gd name="T6" fmla="*/ 22 w 43"/>
                <a:gd name="T7" fmla="*/ 43 h 43"/>
                <a:gd name="T8" fmla="*/ 0 w 43"/>
                <a:gd name="T9" fmla="*/ 2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0" y="22"/>
                  </a:moveTo>
                  <a:lnTo>
                    <a:pt x="22" y="0"/>
                  </a:lnTo>
                  <a:lnTo>
                    <a:pt x="43" y="22"/>
                  </a:lnTo>
                  <a:lnTo>
                    <a:pt x="22" y="43"/>
                  </a:lnTo>
                  <a:lnTo>
                    <a:pt x="0" y="22"/>
                  </a:lnTo>
                  <a:close/>
                </a:path>
              </a:pathLst>
            </a:custGeom>
            <a:noFill/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09" name="Line 181">
              <a:extLst>
                <a:ext uri="{FF2B5EF4-FFF2-40B4-BE49-F238E27FC236}">
                  <a16:creationId xmlns:a16="http://schemas.microsoft.com/office/drawing/2014/main" id="{080B4EFD-C8F1-4DA0-B2C2-7171BEE2E5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8025036" y="4366419"/>
              <a:ext cx="247650" cy="246063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1" name="Line 182">
              <a:extLst>
                <a:ext uri="{FF2B5EF4-FFF2-40B4-BE49-F238E27FC236}">
                  <a16:creationId xmlns:a16="http://schemas.microsoft.com/office/drawing/2014/main" id="{CA52CB7D-7BCB-436E-B690-3B2126FC47E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972648" y="4394994"/>
              <a:ext cx="217487" cy="217488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2" name="Freeform 183">
              <a:extLst>
                <a:ext uri="{FF2B5EF4-FFF2-40B4-BE49-F238E27FC236}">
                  <a16:creationId xmlns:a16="http://schemas.microsoft.com/office/drawing/2014/main" id="{001B1860-1316-4187-968A-02F4077EE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86873" y="4336257"/>
              <a:ext cx="857250" cy="603250"/>
            </a:xfrm>
            <a:custGeom>
              <a:avLst/>
              <a:gdLst>
                <a:gd name="T0" fmla="*/ 540 w 540"/>
                <a:gd name="T1" fmla="*/ 0 h 380"/>
                <a:gd name="T2" fmla="*/ 366 w 540"/>
                <a:gd name="T3" fmla="*/ 174 h 380"/>
                <a:gd name="T4" fmla="*/ 205 w 540"/>
                <a:gd name="T5" fmla="*/ 174 h 380"/>
                <a:gd name="T6" fmla="*/ 0 w 540"/>
                <a:gd name="T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0" h="380">
                  <a:moveTo>
                    <a:pt x="540" y="0"/>
                  </a:moveTo>
                  <a:lnTo>
                    <a:pt x="366" y="174"/>
                  </a:lnTo>
                  <a:lnTo>
                    <a:pt x="205" y="174"/>
                  </a:lnTo>
                  <a:lnTo>
                    <a:pt x="0" y="380"/>
                  </a:lnTo>
                </a:path>
              </a:pathLst>
            </a:cu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3" name="Oval 118">
              <a:extLst>
                <a:ext uri="{FF2B5EF4-FFF2-40B4-BE49-F238E27FC236}">
                  <a16:creationId xmlns:a16="http://schemas.microsoft.com/office/drawing/2014/main" id="{FEADA6F3-3D53-42AC-A77C-0361481552F5}"/>
                </a:ext>
              </a:extLst>
            </p:cNvPr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8552086" y="4342607"/>
              <a:ext cx="554037" cy="557213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4" name="Oval 165">
              <a:extLst>
                <a:ext uri="{FF2B5EF4-FFF2-40B4-BE49-F238E27FC236}">
                  <a16:creationId xmlns:a16="http://schemas.microsoft.com/office/drawing/2014/main" id="{2F2B8154-9D50-4B79-83B5-A78A58C3C752}"/>
                </a:ext>
              </a:extLst>
            </p:cNvPr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8698136" y="3693319"/>
              <a:ext cx="101600" cy="1016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5" name="Oval 168">
              <a:extLst>
                <a:ext uri="{FF2B5EF4-FFF2-40B4-BE49-F238E27FC236}">
                  <a16:creationId xmlns:a16="http://schemas.microsoft.com/office/drawing/2014/main" id="{664C49FD-9510-4267-AF11-986E06E6DA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618761" y="3807619"/>
              <a:ext cx="65087" cy="65088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6" name="Rectangle 140">
              <a:extLst>
                <a:ext uri="{FF2B5EF4-FFF2-40B4-BE49-F238E27FC236}">
                  <a16:creationId xmlns:a16="http://schemas.microsoft.com/office/drawing/2014/main" id="{71418AAC-08C1-4914-89FB-2F177D3299F8}"/>
                </a:ext>
              </a:extLst>
            </p:cNvPr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8872761" y="3701257"/>
              <a:ext cx="271462" cy="27146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7" name="Rectangle 141">
              <a:extLst>
                <a:ext uri="{FF2B5EF4-FFF2-40B4-BE49-F238E27FC236}">
                  <a16:creationId xmlns:a16="http://schemas.microsoft.com/office/drawing/2014/main" id="{F938A976-2B02-49D4-B016-5B918BDD1DDE}"/>
                </a:ext>
              </a:extLst>
            </p:cNvPr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8915623" y="3744119"/>
              <a:ext cx="185737" cy="18415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18" name="Rectangle 142">
              <a:extLst>
                <a:ext uri="{FF2B5EF4-FFF2-40B4-BE49-F238E27FC236}">
                  <a16:creationId xmlns:a16="http://schemas.microsoft.com/office/drawing/2014/main" id="{82A7DCE0-694A-439F-901B-6AC9B5DC8A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58486" y="3786982"/>
              <a:ext cx="98425" cy="98425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7" name="Rectangle 143">
              <a:extLst>
                <a:ext uri="{FF2B5EF4-FFF2-40B4-BE49-F238E27FC236}">
                  <a16:creationId xmlns:a16="http://schemas.microsoft.com/office/drawing/2014/main" id="{C9E651BD-C7C0-4E98-B2B7-9E733CA935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90211" y="3890169"/>
              <a:ext cx="163512" cy="1651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8" name="Rectangle 144">
              <a:extLst>
                <a:ext uri="{FF2B5EF4-FFF2-40B4-BE49-F238E27FC236}">
                  <a16:creationId xmlns:a16="http://schemas.microsoft.com/office/drawing/2014/main" id="{11BA5C9A-E1FA-4604-9F67-136A8AA587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7198" y="3915569"/>
              <a:ext cx="111125" cy="114300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29" name="Rectangle 145">
              <a:extLst>
                <a:ext uri="{FF2B5EF4-FFF2-40B4-BE49-F238E27FC236}">
                  <a16:creationId xmlns:a16="http://schemas.microsoft.com/office/drawing/2014/main" id="{5F065FD8-F813-4A7F-AA05-38B66A68DB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42598" y="3940969"/>
              <a:ext cx="58737" cy="61913"/>
            </a:xfrm>
            <a:prstGeom prst="rect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30" name="Oval 158">
              <a:extLst>
                <a:ext uri="{FF2B5EF4-FFF2-40B4-BE49-F238E27FC236}">
                  <a16:creationId xmlns:a16="http://schemas.microsoft.com/office/drawing/2014/main" id="{185AE119-1ED5-4FC6-92B5-A4BDF23E5C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8836" y="4426744"/>
              <a:ext cx="47625" cy="492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2" name="Oval 159">
              <a:extLst>
                <a:ext uri="{FF2B5EF4-FFF2-40B4-BE49-F238E27FC236}">
                  <a16:creationId xmlns:a16="http://schemas.microsoft.com/office/drawing/2014/main" id="{0539B869-E62A-4F5F-92FA-510E9A6743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21848" y="4475957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3" name="Oval 160">
              <a:extLst>
                <a:ext uri="{FF2B5EF4-FFF2-40B4-BE49-F238E27FC236}">
                  <a16:creationId xmlns:a16="http://schemas.microsoft.com/office/drawing/2014/main" id="{E1617AC9-5CB8-491F-947C-7B0AF40347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0273" y="4312444"/>
              <a:ext cx="25400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4" name="Oval 161">
              <a:extLst>
                <a:ext uri="{FF2B5EF4-FFF2-40B4-BE49-F238E27FC236}">
                  <a16:creationId xmlns:a16="http://schemas.microsoft.com/office/drawing/2014/main" id="{DAA91148-9CED-45D7-9698-9731543838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55198" y="4210844"/>
              <a:ext cx="23812" cy="25400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5" name="Oval 162">
              <a:extLst>
                <a:ext uri="{FF2B5EF4-FFF2-40B4-BE49-F238E27FC236}">
                  <a16:creationId xmlns:a16="http://schemas.microsoft.com/office/drawing/2014/main" id="{500CD617-E13F-47E9-8CB7-51485F872C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29798" y="4247357"/>
              <a:ext cx="15875" cy="14288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6" name="Oval 163">
              <a:extLst>
                <a:ext uri="{FF2B5EF4-FFF2-40B4-BE49-F238E27FC236}">
                  <a16:creationId xmlns:a16="http://schemas.microsoft.com/office/drawing/2014/main" id="{03680E56-BB0D-4D6E-A208-756E3F716A7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07573" y="4266407"/>
              <a:ext cx="15875" cy="15875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7" name="Oval 164">
              <a:extLst>
                <a:ext uri="{FF2B5EF4-FFF2-40B4-BE49-F238E27FC236}">
                  <a16:creationId xmlns:a16="http://schemas.microsoft.com/office/drawing/2014/main" id="{87509450-E4B7-432E-808F-18A9E89E02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94861" y="4502944"/>
              <a:ext cx="23812" cy="23813"/>
            </a:xfrm>
            <a:prstGeom prst="ellipse">
              <a:avLst/>
            </a:prstGeom>
            <a:noFill/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8" name="Oval 192">
              <a:extLst>
                <a:ext uri="{FF2B5EF4-FFF2-40B4-BE49-F238E27FC236}">
                  <a16:creationId xmlns:a16="http://schemas.microsoft.com/office/drawing/2014/main" id="{2E55AA4A-FA69-44BE-A659-9A4B5DB147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66348" y="3748882"/>
              <a:ext cx="58737" cy="55563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69" name="Oval 193">
              <a:extLst>
                <a:ext uri="{FF2B5EF4-FFF2-40B4-BE49-F238E27FC236}">
                  <a16:creationId xmlns:a16="http://schemas.microsoft.com/office/drawing/2014/main" id="{EDA9F321-DF62-40B9-ADE9-766539E6349D}"/>
                </a:ext>
              </a:extLst>
            </p:cNvPr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8362379" y="3628232"/>
              <a:ext cx="36000" cy="360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0" name="Oval 194">
              <a:extLst>
                <a:ext uri="{FF2B5EF4-FFF2-40B4-BE49-F238E27FC236}">
                  <a16:creationId xmlns:a16="http://schemas.microsoft.com/office/drawing/2014/main" id="{F2276B05-1D1C-4D32-BC27-DEBF160CA2F9}"/>
                </a:ext>
              </a:extLst>
            </p:cNvPr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8237761" y="3418682"/>
              <a:ext cx="26987" cy="2698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1" name="Oval 184">
              <a:extLst>
                <a:ext uri="{FF2B5EF4-FFF2-40B4-BE49-F238E27FC236}">
                  <a16:creationId xmlns:a16="http://schemas.microsoft.com/office/drawing/2014/main" id="{7B489EEB-FB07-4527-8CE7-37AE896652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23486" y="4320382"/>
              <a:ext cx="33337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2" name="Oval 185">
              <a:extLst>
                <a:ext uri="{FF2B5EF4-FFF2-40B4-BE49-F238E27FC236}">
                  <a16:creationId xmlns:a16="http://schemas.microsoft.com/office/drawing/2014/main" id="{63EB983C-9068-4BA6-92A4-3030B318B0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56811" y="4345782"/>
              <a:ext cx="33337" cy="34925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3" name="Oval 186">
              <a:extLst>
                <a:ext uri="{FF2B5EF4-FFF2-40B4-BE49-F238E27FC236}">
                  <a16:creationId xmlns:a16="http://schemas.microsoft.com/office/drawing/2014/main" id="{EFB332E5-8558-4573-AB86-1C284462F9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2673" y="4379119"/>
              <a:ext cx="34925" cy="33338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4" name="Oval 22">
              <a:extLst>
                <a:ext uri="{FF2B5EF4-FFF2-40B4-BE49-F238E27FC236}">
                  <a16:creationId xmlns:a16="http://schemas.microsoft.com/office/drawing/2014/main" id="{C23D3460-AAE7-4D70-B614-7F5A7072BCB3}"/>
                </a:ext>
              </a:extLst>
            </p:cNvPr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8842598" y="4194969"/>
              <a:ext cx="57150" cy="5715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5" name="Freeform 8">
              <a:extLst>
                <a:ext uri="{FF2B5EF4-FFF2-40B4-BE49-F238E27FC236}">
                  <a16:creationId xmlns:a16="http://schemas.microsoft.com/office/drawing/2014/main" id="{343E9502-300B-4C04-8D87-22622020314C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8719369" y="2755901"/>
              <a:ext cx="1438670" cy="1438670"/>
            </a:xfrm>
            <a:prstGeom prst="arc">
              <a:avLst>
                <a:gd name="adj1" fmla="val 11100380"/>
                <a:gd name="adj2" fmla="val 14749325"/>
              </a:avLst>
            </a:prstGeom>
            <a:noFill/>
            <a:ln w="3175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6" name="Line 134">
              <a:extLst>
                <a:ext uri="{FF2B5EF4-FFF2-40B4-BE49-F238E27FC236}">
                  <a16:creationId xmlns:a16="http://schemas.microsoft.com/office/drawing/2014/main" id="{4B1D5C86-DADB-48D1-A9F1-C56D6A051B1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7001793" y="3932237"/>
              <a:ext cx="1003582" cy="1005901"/>
            </a:xfrm>
            <a:prstGeom prst="line">
              <a:avLst/>
            </a:prstGeom>
            <a:noFill/>
            <a:ln w="6350" cap="rnd">
              <a:solidFill>
                <a:schemeClr val="bg2"/>
              </a:solidFill>
              <a:prstDash val="sysDot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7" name="Oval 19">
              <a:extLst>
                <a:ext uri="{FF2B5EF4-FFF2-40B4-BE49-F238E27FC236}">
                  <a16:creationId xmlns:a16="http://schemas.microsoft.com/office/drawing/2014/main" id="{DAB6BB7F-E8EE-4705-9F81-8C5A33FFB2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14011" y="3215482"/>
              <a:ext cx="82550" cy="79375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  <p:sp>
          <p:nvSpPr>
            <p:cNvPr id="178" name="Oval 21">
              <a:extLst>
                <a:ext uri="{FF2B5EF4-FFF2-40B4-BE49-F238E27FC236}">
                  <a16:creationId xmlns:a16="http://schemas.microsoft.com/office/drawing/2014/main" id="{A8981E37-C0CE-4C48-89EA-7464DA8278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729886" y="3229769"/>
              <a:ext cx="50800" cy="50800"/>
            </a:xfrm>
            <a:prstGeom prst="ellipse">
              <a:avLst/>
            </a:prstGeom>
            <a:solidFill>
              <a:schemeClr val="bg1"/>
            </a:solidFill>
            <a:ln w="6350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endParaRPr>
            </a:p>
          </p:txBody>
        </p:sp>
      </p:grpSp>
      <p:graphicFrame>
        <p:nvGraphicFramePr>
          <p:cNvPr id="79" name="Objekt 7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71" imgW="360" imgH="360" progId="TCLayout.ActiveDocument.1">
                  <p:embed/>
                </p:oleObj>
              </mc:Choice>
              <mc:Fallback>
                <p:oleObj name="think-cell Folie" r:id="rId71" imgW="360" imgH="360" progId="TCLayout.ActiveDocument.1">
                  <p:embed/>
                  <p:pic>
                    <p:nvPicPr>
                      <p:cNvPr id="79" name="Objek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1C16250-7489-488A-82B7-222C8BC69B1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  <a:sym typeface="Fujitsu Sans" panose="020B040406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altLang="ja-JP" dirty="0"/>
              <a:t>Unglaubliche Flexibilität - </a:t>
            </a:r>
            <a:r>
              <a:rPr lang="de-DE" altLang="ja-JP" dirty="0" smtClean="0"/>
              <a:t>RX2540 </a:t>
            </a:r>
            <a:r>
              <a:rPr lang="de-DE" altLang="ja-JP" dirty="0"/>
              <a:t>M6</a:t>
            </a:r>
          </a:p>
        </p:txBody>
      </p:sp>
      <p:sp>
        <p:nvSpPr>
          <p:cNvPr id="161" name="Textfeld 160"/>
          <p:cNvSpPr txBox="1"/>
          <p:nvPr/>
        </p:nvSpPr>
        <p:spPr>
          <a:xfrm>
            <a:off x="6426964" y="4825484"/>
            <a:ext cx="25401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Umfassende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Supportangebo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jitsu Sans 2020"/>
                <a:ea typeface="+mn-ea"/>
                <a:cs typeface="+mn-cs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verfügbar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51824" y="1575431"/>
            <a:ext cx="158732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10x 3.5”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76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 flipH="1">
            <a:off x="360000" y="2043515"/>
            <a:ext cx="1403617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0" name="Rectangle 5">
            <a:extLst>
              <a:ext uri="{FF2B5EF4-FFF2-40B4-BE49-F238E27FC236}">
                <a16:creationId xmlns:a16="http://schemas.microsoft.com/office/drawing/2014/main" id="{CE5EC31C-25E5-4515-AA68-5793AC26C3E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51520" y="1419646"/>
            <a:ext cx="8640000" cy="216000"/>
          </a:xfrm>
          <a:prstGeom prst="rect">
            <a:avLst/>
          </a:prstGeom>
          <a:ln>
            <a:noFill/>
          </a:ln>
        </p:spPr>
        <p:txBody>
          <a:bodyPr wrap="square" lIns="0" tIns="0" rIns="0" bIns="7200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Der kompromisslose </a:t>
            </a: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Standard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für Rechenzentr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B7C9D58E-5BBD-4F46-B923-345D95E7D38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359104" y="1635646"/>
            <a:ext cx="8424000" cy="0"/>
          </a:xfrm>
          <a:prstGeom prst="line">
            <a:avLst/>
          </a:prstGeom>
          <a:ln w="63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CFA491D3-5E8E-404E-8045-116E272EF796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 rot="16200000">
            <a:off x="8241259" y="1439712"/>
            <a:ext cx="19063" cy="228789"/>
            <a:chOff x="1331550" y="2283710"/>
            <a:chExt cx="18000" cy="216030"/>
          </a:xfrm>
          <a:solidFill>
            <a:schemeClr val="bg2"/>
          </a:solidFill>
        </p:grpSpPr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48F875B2-49B7-4F63-922C-9FA7C32ABEFA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1331550" y="228371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FBFC95B6-4508-44FC-895B-2976B21A1A75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gray">
            <a:xfrm>
              <a:off x="1331550" y="2333218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BD4FC1B5-1988-4D2D-A28B-DEB6122D370E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1331550" y="2382726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3DA0BC97-DB11-4085-B09D-03658562C18E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gray">
            <a:xfrm>
              <a:off x="1331550" y="2432234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C6D433A3-7D62-4599-8268-B1494194CD17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gray">
            <a:xfrm>
              <a:off x="1331550" y="248174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ADCF4382-8FA0-4A7B-808D-3E9EB9CAED36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gray">
          <a:xfrm rot="16200000">
            <a:off x="8134287" y="1349723"/>
            <a:ext cx="12707" cy="152505"/>
            <a:chOff x="1331550" y="2283710"/>
            <a:chExt cx="18000" cy="216030"/>
          </a:xfrm>
          <a:solidFill>
            <a:schemeClr val="bg2"/>
          </a:solidFill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78FBDBEC-141C-4E7F-95BA-555E2540D86A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 bwMode="gray">
            <a:xfrm>
              <a:off x="1331550" y="228371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5BBFA190-601F-464C-A1D8-9D962906B55C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1331550" y="2333218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id="{6DA08459-D3F0-4168-B868-6A4A96D6E195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gray">
            <a:xfrm>
              <a:off x="1331550" y="2382726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462F8392-3BFA-4D74-8F5C-A517A41A64E1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1331550" y="2432234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C4799DE6-7589-4D1A-8556-F9C10F77498B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gray">
            <a:xfrm>
              <a:off x="1331550" y="2481740"/>
              <a:ext cx="18000" cy="180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3C35"/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17EADD67-4726-4236-8072-A80C6038333C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8208404" y="1488452"/>
            <a:ext cx="360040" cy="0"/>
          </a:xfrm>
          <a:prstGeom prst="line">
            <a:avLst/>
          </a:prstGeom>
          <a:ln w="635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Pfeil: Chevron 180">
            <a:extLst>
              <a:ext uri="{FF2B5EF4-FFF2-40B4-BE49-F238E27FC236}">
                <a16:creationId xmlns:a16="http://schemas.microsoft.com/office/drawing/2014/main" id="{25FD1BD3-D854-43B0-B0E2-240AFFF96F3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 flipH="1">
            <a:off x="251520" y="1563638"/>
            <a:ext cx="95936" cy="143904"/>
          </a:xfrm>
          <a:prstGeom prst="chevron">
            <a:avLst>
              <a:gd name="adj" fmla="val 40995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22" name="Pfeil: Chevron 180">
            <a:extLst>
              <a:ext uri="{FF2B5EF4-FFF2-40B4-BE49-F238E27FC236}">
                <a16:creationId xmlns:a16="http://schemas.microsoft.com/office/drawing/2014/main" id="{D31F464A-4515-4C61-8507-C3BC13B53AF8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8796544" y="1563638"/>
            <a:ext cx="95936" cy="143904"/>
          </a:xfrm>
          <a:prstGeom prst="chevron">
            <a:avLst>
              <a:gd name="adj" fmla="val 40995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C3C35"/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23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59104" y="2786201"/>
            <a:ext cx="1630356" cy="16561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-2x Inte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® Xeon®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CP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32x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IMM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16 per CPU)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to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0x 3.5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o Rear Bay optio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ossib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Without SAS expand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s for OCP c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8x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G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 slots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x PS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for ODD dri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pic>
        <p:nvPicPr>
          <p:cNvPr id="124" name="圖片 2">
            <a:extLst>
              <a:ext uri="{FF2B5EF4-FFF2-40B4-BE49-F238E27FC236}">
                <a16:creationId xmlns:a16="http://schemas.microsoft.com/office/drawing/2014/main" id="{10EBB906-AFD9-4D47-AB4E-06EB3FE91901}"/>
              </a:ext>
            </a:extLst>
          </p:cNvPr>
          <p:cNvPicPr>
            <a:picLocks noChangeAspect="1"/>
          </p:cNvPicPr>
          <p:nvPr/>
        </p:nvPicPr>
        <p:blipFill>
          <a:blip r:embed="rId73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1809" y="2325797"/>
            <a:ext cx="1512000" cy="272199"/>
          </a:xfrm>
          <a:prstGeom prst="rect">
            <a:avLst/>
          </a:prstGeom>
        </p:spPr>
      </p:pic>
      <p:pic>
        <p:nvPicPr>
          <p:cNvPr id="125" name="圖片 7">
            <a:extLst>
              <a:ext uri="{FF2B5EF4-FFF2-40B4-BE49-F238E27FC236}">
                <a16:creationId xmlns:a16="http://schemas.microsoft.com/office/drawing/2014/main" id="{0010404E-1C7E-46E2-8A28-B4D558F23EF0}"/>
              </a:ext>
            </a:extLst>
          </p:cNvPr>
          <p:cNvPicPr>
            <a:picLocks noChangeAspect="1"/>
          </p:cNvPicPr>
          <p:nvPr/>
        </p:nvPicPr>
        <p:blipFill>
          <a:blip r:embed="rId74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18896" y="2316605"/>
            <a:ext cx="1512000" cy="261108"/>
          </a:xfrm>
          <a:prstGeom prst="rect">
            <a:avLst/>
          </a:prstGeom>
        </p:spPr>
      </p:pic>
      <p:pic>
        <p:nvPicPr>
          <p:cNvPr id="126" name="圖片 9">
            <a:extLst>
              <a:ext uri="{FF2B5EF4-FFF2-40B4-BE49-F238E27FC236}">
                <a16:creationId xmlns:a16="http://schemas.microsoft.com/office/drawing/2014/main" id="{1EDFFE4F-B6C8-42A3-BE9E-3DD41FCE864A}"/>
              </a:ext>
            </a:extLst>
          </p:cNvPr>
          <p:cNvPicPr>
            <a:picLocks noChangeAspect="1"/>
          </p:cNvPicPr>
          <p:nvPr/>
        </p:nvPicPr>
        <p:blipFill>
          <a:blip r:embed="rId75" cstate="print">
            <a:clrChange>
              <a:clrFrom>
                <a:srgbClr val="FBFBFD"/>
              </a:clrFrom>
              <a:clrTo>
                <a:srgbClr val="FBFB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471" y="2317878"/>
            <a:ext cx="1512000" cy="262696"/>
          </a:xfrm>
          <a:prstGeom prst="rect">
            <a:avLst/>
          </a:prstGeom>
        </p:spPr>
      </p:pic>
      <p:pic>
        <p:nvPicPr>
          <p:cNvPr id="131" name="圖片 6">
            <a:extLst>
              <a:ext uri="{FF2B5EF4-FFF2-40B4-BE49-F238E27FC236}">
                <a16:creationId xmlns:a16="http://schemas.microsoft.com/office/drawing/2014/main" id="{6172B9FE-3D14-4A72-B924-06D3A75A2753}"/>
              </a:ext>
            </a:extLst>
          </p:cNvPr>
          <p:cNvPicPr>
            <a:picLocks noChangeAspect="1"/>
          </p:cNvPicPr>
          <p:nvPr/>
        </p:nvPicPr>
        <p:blipFill>
          <a:blip r:embed="rId76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621" y="2314764"/>
            <a:ext cx="1512000" cy="252337"/>
          </a:xfrm>
          <a:prstGeom prst="rect">
            <a:avLst/>
          </a:prstGeom>
        </p:spPr>
      </p:pic>
      <p:pic>
        <p:nvPicPr>
          <p:cNvPr id="132" name="圖片 8">
            <a:extLst>
              <a:ext uri="{FF2B5EF4-FFF2-40B4-BE49-F238E27FC236}">
                <a16:creationId xmlns:a16="http://schemas.microsoft.com/office/drawing/2014/main" id="{A83B1620-04AD-49FB-8970-FF34EE15E2F4}"/>
              </a:ext>
            </a:extLst>
          </p:cNvPr>
          <p:cNvPicPr>
            <a:picLocks noChangeAspect="1"/>
          </p:cNvPicPr>
          <p:nvPr/>
        </p:nvPicPr>
        <p:blipFill>
          <a:blip r:embed="rId77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734" y="2306168"/>
            <a:ext cx="1512000" cy="259657"/>
          </a:xfrm>
          <a:prstGeom prst="rect">
            <a:avLst/>
          </a:prstGeom>
        </p:spPr>
      </p:pic>
      <p:pic>
        <p:nvPicPr>
          <p:cNvPr id="133" name="Grafik 132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1590161" y="1824149"/>
            <a:ext cx="378582" cy="364939"/>
          </a:xfrm>
          <a:prstGeom prst="rect">
            <a:avLst/>
          </a:prstGeom>
        </p:spPr>
      </p:pic>
      <p:sp>
        <p:nvSpPr>
          <p:cNvPr id="134" name="Rectangle 3">
            <a:extLst>
              <a:ext uri="{FF2B5EF4-FFF2-40B4-BE49-F238E27FC236}">
                <a16:creationId xmlns:a16="http://schemas.microsoft.com/office/drawing/2014/main" id="{5335CF8D-57F4-4C2F-AD74-BF332DBED027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563077" y="1811120"/>
            <a:ext cx="447216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#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902367" y="1574793"/>
            <a:ext cx="158732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12x 3.5”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36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 flipH="1">
            <a:off x="2017017" y="2042877"/>
            <a:ext cx="1403867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7" name="Grafik 136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3247428" y="1823511"/>
            <a:ext cx="378582" cy="364939"/>
          </a:xfrm>
          <a:prstGeom prst="rect">
            <a:avLst/>
          </a:prstGeom>
        </p:spPr>
      </p:pic>
      <p:sp>
        <p:nvSpPr>
          <p:cNvPr id="138" name="Rectangle 3">
            <a:extLst>
              <a:ext uri="{FF2B5EF4-FFF2-40B4-BE49-F238E27FC236}">
                <a16:creationId xmlns:a16="http://schemas.microsoft.com/office/drawing/2014/main" id="{5335CF8D-57F4-4C2F-AD74-BF332DBED027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220344" y="1810482"/>
            <a:ext cx="447216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#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657455" y="1574793"/>
            <a:ext cx="158732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16x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2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.5”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40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3772105" y="2042877"/>
            <a:ext cx="1403867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1" name="Grafik 140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5002516" y="1823511"/>
            <a:ext cx="378582" cy="364939"/>
          </a:xfrm>
          <a:prstGeom prst="rect">
            <a:avLst/>
          </a:prstGeom>
        </p:spPr>
      </p:pic>
      <p:sp>
        <p:nvSpPr>
          <p:cNvPr id="142" name="Rectangle 3">
            <a:extLst>
              <a:ext uri="{FF2B5EF4-FFF2-40B4-BE49-F238E27FC236}">
                <a16:creationId xmlns:a16="http://schemas.microsoft.com/office/drawing/2014/main" id="{5335CF8D-57F4-4C2F-AD74-BF332DBED02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975432" y="1810482"/>
            <a:ext cx="447216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#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3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DC0000">
                  <a:alpha val="20000"/>
                </a:srgbClr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399095" y="1570205"/>
            <a:ext cx="158732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24x 2.5”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44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513745" y="2038289"/>
            <a:ext cx="1403867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5" name="Grafik 144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6744156" y="1818923"/>
            <a:ext cx="378582" cy="364939"/>
          </a:xfrm>
          <a:prstGeom prst="rect">
            <a:avLst/>
          </a:prstGeom>
        </p:spPr>
      </p:pic>
      <p:sp>
        <p:nvSpPr>
          <p:cNvPr id="146" name="Rectangle 3">
            <a:extLst>
              <a:ext uri="{FF2B5EF4-FFF2-40B4-BE49-F238E27FC236}">
                <a16:creationId xmlns:a16="http://schemas.microsoft.com/office/drawing/2014/main" id="{5335CF8D-57F4-4C2F-AD74-BF332DBED02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717072" y="1805894"/>
            <a:ext cx="447216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#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4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DC0000">
                  <a:alpha val="20000"/>
                </a:srgbClr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09F79D4-BF7D-4DEA-9F2E-777296058E7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095623" y="1578043"/>
            <a:ext cx="1587324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C000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64x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0000"/>
                </a:solidFill>
                <a:effectLst/>
                <a:uLnTx/>
                <a:uFillTx/>
                <a:latin typeface="Fujitsu Sans Medium" panose="020B0504060202020204" pitchFamily="34" charset="0"/>
                <a:ea typeface="+mn-ea"/>
                <a:cs typeface="+mn-cs"/>
              </a:rPr>
              <a:t>E1.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C0000"/>
              </a:solidFill>
              <a:effectLst/>
              <a:uLnTx/>
              <a:uFillTx/>
              <a:latin typeface="Fujitsu Sans Medium" panose="020B0504060202020204" pitchFamily="34" charset="0"/>
              <a:ea typeface="+mn-ea"/>
              <a:cs typeface="+mn-cs"/>
            </a:endParaRPr>
          </a:p>
        </p:txBody>
      </p:sp>
      <p:cxnSp>
        <p:nvCxnSpPr>
          <p:cNvPr id="148" name="Gerader Verbinder 181">
            <a:extLst>
              <a:ext uri="{FF2B5EF4-FFF2-40B4-BE49-F238E27FC236}">
                <a16:creationId xmlns:a16="http://schemas.microsoft.com/office/drawing/2014/main" id="{94738D2D-A06B-42FE-9B9C-6A551C55AA6D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>
            <a:off x="7210273" y="2046127"/>
            <a:ext cx="1403867" cy="0"/>
          </a:xfrm>
          <a:prstGeom prst="line">
            <a:avLst/>
          </a:prstGeom>
          <a:solidFill>
            <a:schemeClr val="bg1"/>
          </a:solidFill>
          <a:ln w="63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9" name="Grafik 148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8440684" y="1826761"/>
            <a:ext cx="378582" cy="364939"/>
          </a:xfrm>
          <a:prstGeom prst="rect">
            <a:avLst/>
          </a:prstGeom>
        </p:spPr>
      </p:pic>
      <p:sp>
        <p:nvSpPr>
          <p:cNvPr id="150" name="Rectangle 3">
            <a:extLst>
              <a:ext uri="{FF2B5EF4-FFF2-40B4-BE49-F238E27FC236}">
                <a16:creationId xmlns:a16="http://schemas.microsoft.com/office/drawing/2014/main" id="{5335CF8D-57F4-4C2F-AD74-BF332DBED02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413600" y="1813732"/>
            <a:ext cx="447216" cy="360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#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0000">
                    <a:alpha val="20000"/>
                  </a:srgbClr>
                </a:solidFill>
                <a:effectLst/>
                <a:uLnTx/>
                <a:uFillTx/>
                <a:latin typeface="Fujitsu Sans" panose="020B0404060202020204" pitchFamily="34" charset="0"/>
                <a:ea typeface="+mn-ea"/>
                <a:cs typeface="+mn-cs"/>
              </a:rPr>
              <a:t>5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DC0000">
                  <a:alpha val="20000"/>
                </a:srgbClr>
              </a:solidFill>
              <a:effectLst/>
              <a:uLnTx/>
              <a:uFillTx/>
              <a:latin typeface="Fujitsu Sans" panose="020B0404060202020204" pitchFamily="34" charset="0"/>
              <a:ea typeface="+mn-ea"/>
              <a:cs typeface="+mn-cs"/>
            </a:endParaRPr>
          </a:p>
        </p:txBody>
      </p:sp>
      <p:sp>
        <p:nvSpPr>
          <p:cNvPr id="151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041029" y="2795187"/>
            <a:ext cx="1531189" cy="16561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-2x Intel® Xeon® CP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32x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IMM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16 per CPU)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to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2x 3.5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No Rear Bay optio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ossib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With and without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AS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xpander availabl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s for OCP c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8x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G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 slots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x PSU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52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3748195" y="2797224"/>
            <a:ext cx="1531189" cy="16561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-2x Intel® Xeon® CP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32x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IMM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16 per CPU)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to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6x 2.5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grade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fo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rear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6x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.5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"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With and without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AS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xpander availabl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s for OCP c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to 8x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G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 slots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x PS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 slot for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ODD, RDX, L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FR function (option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53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5480513" y="2792674"/>
            <a:ext cx="1531189" cy="16561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-2x Intel® Xeon® CP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32x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IMM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16 per CPU)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to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4x 2.5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grade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fo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rear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6x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.5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"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With and without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AS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xpander availabl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s for OCP c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to 8x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G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 slots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x PSU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sp>
        <p:nvSpPr>
          <p:cNvPr id="154" name="Rectangle 15">
            <a:extLst>
              <a:ext uri="{FF2B5EF4-FFF2-40B4-BE49-F238E27FC236}">
                <a16:creationId xmlns:a16="http://schemas.microsoft.com/office/drawing/2014/main" id="{A6A4890E-49FD-40F9-BB36-2AD83ED030D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7266115" y="2792674"/>
            <a:ext cx="1531189" cy="16561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-2x Intel® Xeon® CP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32x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DIMMs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(16 per CPU)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to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64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x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E1.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Onboard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with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wit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1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slots for OCP car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Up to 8x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PCI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 G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4 slots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ujitsu Sans Light" panose="020B0304060202020204" pitchFamily="34" charset="0"/>
                <a:ea typeface="+mn-ea"/>
                <a:cs typeface="+mn-cs"/>
              </a:rPr>
              <a:t>2x PSU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>
                <a:srgbClr val="DC0000"/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  <a:p>
            <a:pPr marL="144000" marR="0" lvl="0" indent="-144000" algn="l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Fujitsu Sans Light" panose="020B0304060202020204" pitchFamily="34" charset="0"/>
              <a:ea typeface="+mn-ea"/>
              <a:cs typeface="+mn-cs"/>
            </a:endParaRPr>
          </a:p>
        </p:txBody>
      </p:sp>
      <p:grpSp>
        <p:nvGrpSpPr>
          <p:cNvPr id="155" name="Gruppieren 154">
            <a:extLst>
              <a:ext uri="{FF2B5EF4-FFF2-40B4-BE49-F238E27FC236}">
                <a16:creationId xmlns:a16="http://schemas.microsoft.com/office/drawing/2014/main" id="{7E373B94-4F63-4FE0-A427-BD60D92DF2ED}"/>
              </a:ext>
            </a:extLst>
          </p:cNvPr>
          <p:cNvGrpSpPr/>
          <p:nvPr>
            <p:custDataLst>
              <p:tags r:id="rId33"/>
            </p:custDataLst>
          </p:nvPr>
        </p:nvGrpSpPr>
        <p:grpSpPr bwMode="gray">
          <a:xfrm>
            <a:off x="575564" y="1499597"/>
            <a:ext cx="962480" cy="211114"/>
            <a:chOff x="791580" y="2859814"/>
            <a:chExt cx="962480" cy="211114"/>
          </a:xfrm>
        </p:grpSpPr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83C5E7D4-EDB9-4206-984F-0E8D59E70534}"/>
                </a:ext>
              </a:extLst>
            </p:cNvPr>
            <p:cNvGrpSpPr/>
            <p:nvPr>
              <p:custDataLst>
                <p:tags r:id="rId34"/>
              </p:custDataLst>
            </p:nvPr>
          </p:nvGrpSpPr>
          <p:grpSpPr bwMode="gray">
            <a:xfrm rot="5400000" flipH="1">
              <a:off x="1583757" y="2900626"/>
              <a:ext cx="26197" cy="314408"/>
              <a:chOff x="1331550" y="2283710"/>
              <a:chExt cx="18000" cy="216030"/>
            </a:xfrm>
            <a:solidFill>
              <a:schemeClr val="bg2"/>
            </a:solidFill>
          </p:grpSpPr>
          <p:sp>
            <p:nvSpPr>
              <p:cNvPr id="182" name="Ellipse 181">
                <a:extLst>
                  <a:ext uri="{FF2B5EF4-FFF2-40B4-BE49-F238E27FC236}">
                    <a16:creationId xmlns:a16="http://schemas.microsoft.com/office/drawing/2014/main" id="{08690920-3947-416C-BFCD-6ED61047D04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 bwMode="gray">
              <a:xfrm>
                <a:off x="1331550" y="228371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3" name="Ellipse 182">
                <a:extLst>
                  <a:ext uri="{FF2B5EF4-FFF2-40B4-BE49-F238E27FC236}">
                    <a16:creationId xmlns:a16="http://schemas.microsoft.com/office/drawing/2014/main" id="{3D1005BA-F9E2-421B-AFF9-F127827BDFD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 bwMode="gray">
              <a:xfrm>
                <a:off x="1331550" y="2333218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" name="Ellipse 183">
                <a:extLst>
                  <a:ext uri="{FF2B5EF4-FFF2-40B4-BE49-F238E27FC236}">
                    <a16:creationId xmlns:a16="http://schemas.microsoft.com/office/drawing/2014/main" id="{9D688B88-AE01-439E-BE80-22F943EAEA78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 bwMode="gray">
              <a:xfrm>
                <a:off x="1331550" y="2382726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" name="Ellipse 184">
                <a:extLst>
                  <a:ext uri="{FF2B5EF4-FFF2-40B4-BE49-F238E27FC236}">
                    <a16:creationId xmlns:a16="http://schemas.microsoft.com/office/drawing/2014/main" id="{C2CB7380-2CDF-48BE-BB88-D8794FEEE936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 bwMode="gray">
              <a:xfrm>
                <a:off x="1331550" y="2432234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" name="Ellipse 185">
                <a:extLst>
                  <a:ext uri="{FF2B5EF4-FFF2-40B4-BE49-F238E27FC236}">
                    <a16:creationId xmlns:a16="http://schemas.microsoft.com/office/drawing/2014/main" id="{227066D0-1AAF-429F-A99C-C58CFC07981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 bwMode="gray">
              <a:xfrm>
                <a:off x="1331550" y="248174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C5B7FFFC-DD37-42A7-8E20-1670EFE8D07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 rot="5400000" flipH="1">
              <a:off x="1527323" y="2835765"/>
              <a:ext cx="17462" cy="209576"/>
              <a:chOff x="1331550" y="2283710"/>
              <a:chExt cx="18000" cy="216030"/>
            </a:xfrm>
            <a:solidFill>
              <a:schemeClr val="bg2"/>
            </a:solidFill>
          </p:grpSpPr>
          <p:sp>
            <p:nvSpPr>
              <p:cNvPr id="159" name="Ellipse 158">
                <a:extLst>
                  <a:ext uri="{FF2B5EF4-FFF2-40B4-BE49-F238E27FC236}">
                    <a16:creationId xmlns:a16="http://schemas.microsoft.com/office/drawing/2014/main" id="{F1210CF1-A3F4-4B50-97EC-103F048EB65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 bwMode="gray">
              <a:xfrm>
                <a:off x="1331550" y="228371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0" name="Ellipse 159">
                <a:extLst>
                  <a:ext uri="{FF2B5EF4-FFF2-40B4-BE49-F238E27FC236}">
                    <a16:creationId xmlns:a16="http://schemas.microsoft.com/office/drawing/2014/main" id="{4D6F44B0-6774-4673-A6E6-49FADF68D2A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 bwMode="gray">
              <a:xfrm>
                <a:off x="1331550" y="2333218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" name="Ellipse 178">
                <a:extLst>
                  <a:ext uri="{FF2B5EF4-FFF2-40B4-BE49-F238E27FC236}">
                    <a16:creationId xmlns:a16="http://schemas.microsoft.com/office/drawing/2014/main" id="{5EC61E2B-069C-4E2C-8E41-7753FC0BC9C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 bwMode="gray">
              <a:xfrm>
                <a:off x="1331550" y="2382726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0" name="Ellipse 179">
                <a:extLst>
                  <a:ext uri="{FF2B5EF4-FFF2-40B4-BE49-F238E27FC236}">
                    <a16:creationId xmlns:a16="http://schemas.microsoft.com/office/drawing/2014/main" id="{D24B9B90-252F-4C82-ADFA-E04D444E0AC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 bwMode="gray">
              <a:xfrm>
                <a:off x="1331550" y="2432234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1" name="Ellipse 180">
                <a:extLst>
                  <a:ext uri="{FF2B5EF4-FFF2-40B4-BE49-F238E27FC236}">
                    <a16:creationId xmlns:a16="http://schemas.microsoft.com/office/drawing/2014/main" id="{11DDB198-CEE0-4530-99E9-C48B607A912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 bwMode="gray">
              <a:xfrm>
                <a:off x="1331550" y="2481740"/>
                <a:ext cx="18000" cy="180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5"/>
                  </a:solidFill>
                  <a:effectLst/>
                  <a:uLnTx/>
                  <a:uFillTx/>
                  <a:latin typeface="Fujitsu Sans Light" panose="020B0304060202020204" pitchFamily="34" charset="0"/>
                  <a:ea typeface="+mn-ea"/>
                  <a:cs typeface="+mn-cs"/>
                </a:endParaRPr>
              </a:p>
            </p:txBody>
          </p:sp>
        </p:grpSp>
        <p:cxnSp>
          <p:nvCxnSpPr>
            <p:cNvPr id="158" name="Gerader Verbinder 157">
              <a:extLst>
                <a:ext uri="{FF2B5EF4-FFF2-40B4-BE49-F238E27FC236}">
                  <a16:creationId xmlns:a16="http://schemas.microsoft.com/office/drawing/2014/main" id="{70B43D79-DB58-4C95-B2C9-290986BCF696}"/>
                </a:ext>
              </a:extLst>
            </p:cNvPr>
            <p:cNvCxnSpPr>
              <a:cxnSpLocks/>
            </p:cNvCxnSpPr>
            <p:nvPr>
              <p:custDataLst>
                <p:tags r:id="rId36"/>
              </p:custDataLst>
            </p:nvPr>
          </p:nvCxnSpPr>
          <p:spPr bwMode="gray">
            <a:xfrm flipH="1">
              <a:off x="791580" y="2859814"/>
              <a:ext cx="900092" cy="0"/>
            </a:xfrm>
            <a:prstGeom prst="line">
              <a:avLst/>
            </a:prstGeom>
            <a:ln w="635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7" name="Rechteck 186"/>
          <p:cNvSpPr/>
          <p:nvPr/>
        </p:nvSpPr>
        <p:spPr>
          <a:xfrm>
            <a:off x="179512" y="4950629"/>
            <a:ext cx="803832" cy="16888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jitsu Sans 202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42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ja-JP" dirty="0"/>
              <a:t>ServerView® </a:t>
            </a:r>
            <a:r>
              <a:rPr lang="de-DE" altLang="ja-JP" dirty="0" err="1" smtClean="0"/>
              <a:t>Health</a:t>
            </a:r>
            <a:r>
              <a:rPr lang="de-DE" dirty="0" smtClean="0"/>
              <a:t>– WAC Integra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987574"/>
            <a:ext cx="7561264" cy="374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63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60S3UyWx5g7edBtXt2F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3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3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3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60S3UyWx5g7edBtXt2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60S3UyWx5g7edBtXt2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Inner Master">
  <a:themeElements>
    <a:clrScheme name="Custom 2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DC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DC0000"/>
      </a:folHlink>
    </a:clrScheme>
    <a:fontScheme name="Fujitsu Sans 2020">
      <a:majorFont>
        <a:latin typeface="Fujitsu Sans 2020"/>
        <a:ea typeface=""/>
        <a:cs typeface=""/>
      </a:majorFont>
      <a:minorFont>
        <a:latin typeface="Fujitsu Sans 2020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7040-020-PPT-Grey-Template-External-16x9-v1.0.potx" id="{EDD4BBF5-B845-4149-93F3-6E3199412F44}" vid="{E3910A47-DE0D-4A7A-A60B-C9A4B819C593}"/>
    </a:ext>
  </a:extLst>
</a:theme>
</file>

<file path=ppt/theme/theme2.xml><?xml version="1.0" encoding="utf-8"?>
<a:theme xmlns:a="http://schemas.openxmlformats.org/drawingml/2006/main" name="1_Cover Master">
  <a:themeElements>
    <a:clrScheme name="Custom 2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DC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DC0000"/>
      </a:folHlink>
    </a:clrScheme>
    <a:fontScheme name="Fujitsu Sans 2020">
      <a:majorFont>
        <a:latin typeface="Fujitsu Sans 2020"/>
        <a:ea typeface=""/>
        <a:cs typeface=""/>
      </a:majorFont>
      <a:minorFont>
        <a:latin typeface="Fujitsu Sans 2020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7040-021-PPT-Red-Template-Internal-16x9-v1.0.potx" id="{B5404820-D976-4160-A178-EBA5DF341709}" vid="{8276669A-FE75-4D84-A6C1-BB7B31DDF559}"/>
    </a:ext>
  </a:extLst>
</a:theme>
</file>

<file path=ppt/theme/theme3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rey Template External 16x9</Template>
  <TotalTime>0</TotalTime>
  <Words>1249</Words>
  <Application>Microsoft Office PowerPoint</Application>
  <PresentationFormat>Bildschirmpräsentation (16:9)</PresentationFormat>
  <Paragraphs>296</Paragraphs>
  <Slides>26</Slides>
  <Notes>2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2" baseType="lpstr">
      <vt:lpstr>Wingdings 2</vt:lpstr>
      <vt:lpstr>Fujitsu Sans</vt:lpstr>
      <vt:lpstr>ＭＳ Ｐゴシック</vt:lpstr>
      <vt:lpstr>Wingdings</vt:lpstr>
      <vt:lpstr>Arial</vt:lpstr>
      <vt:lpstr>Meiryo UI</vt:lpstr>
      <vt:lpstr>Calibri</vt:lpstr>
      <vt:lpstr>Fujitsu Sans 2020 Medium</vt:lpstr>
      <vt:lpstr>Fujitsu Sans 2020 Light</vt:lpstr>
      <vt:lpstr>Fujitsu Sans Medium</vt:lpstr>
      <vt:lpstr>Arial Unicode MS</vt:lpstr>
      <vt:lpstr>Fujitsu Sans 2020</vt:lpstr>
      <vt:lpstr>Fujitsu Sans Light</vt:lpstr>
      <vt:lpstr>Inner Master</vt:lpstr>
      <vt:lpstr>1_Cover Master</vt:lpstr>
      <vt:lpstr>think-cell Folie</vt:lpstr>
      <vt:lpstr>FUJITSU Lösungen mit Microsoft HCI</vt:lpstr>
      <vt:lpstr>Fujitsu S2D / ASHCI Channel Experten</vt:lpstr>
      <vt:lpstr>Einordnung HCI Lösungen Microsoft PRIMEFLEX Azure Stack HCI vs. PRIMEFLEX Storage Spaces Direct</vt:lpstr>
      <vt:lpstr>Level Up mit Fujitsu PRIMEFLEX </vt:lpstr>
      <vt:lpstr>FUJITSU PRIMERGY RX-Systeme</vt:lpstr>
      <vt:lpstr>Neu: PRIMERGY RX2540 M6  (Whitley- Ice-Lake)</vt:lpstr>
      <vt:lpstr>PRIMERGY  - RX2530 M6 &amp; RX2540 M6</vt:lpstr>
      <vt:lpstr>Unglaubliche Flexibilität - RX2540 M6</vt:lpstr>
      <vt:lpstr>ServerView® Health– WAC Integration</vt:lpstr>
      <vt:lpstr>ServerView® Software Update – WAC Integration</vt:lpstr>
      <vt:lpstr>ServerView® RAID – WAC Integration</vt:lpstr>
      <vt:lpstr>ServerView® RAID – WAC Integration</vt:lpstr>
      <vt:lpstr>Neu: Infrastructure Manager®  – WAC Integration</vt:lpstr>
      <vt:lpstr>Neu: Infrastructure Manager®  – WAC Integration</vt:lpstr>
      <vt:lpstr>Neu: Infrastructure Manager®  – WAC Integration</vt:lpstr>
      <vt:lpstr>Neu: Infrastructure Manager®  – WAC Integration</vt:lpstr>
      <vt:lpstr>Neu: Infrastructure Manager®  – WAC Integration</vt:lpstr>
      <vt:lpstr>Ankündigung: Cluster Aware Updating (CAU) mit FUJITSU ServerView® PowerShell</vt:lpstr>
      <vt:lpstr>Stretched Cluster bei FUJITSU unterstützt mit PRIMEFLEX for Microsoft Azure Stack HCI </vt:lpstr>
      <vt:lpstr>Streched Cluster mit synchroner Replikation</vt:lpstr>
      <vt:lpstr>Seite 1 ist ausgefallen</vt:lpstr>
      <vt:lpstr>Seite 2 ist hochgefahren</vt:lpstr>
      <vt:lpstr>Seite 1 ist wieder da – Replikation beginnt</vt:lpstr>
      <vt:lpstr>Messung 8kB Datenblöcke mit 80 VMs und  30% Schreibrate: 240k IOPS und geringe Latenz</vt:lpstr>
      <vt:lpstr>Ansprechpartner</vt:lpstr>
      <vt:lpstr>PowerPoint-Präsentation</vt:lpstr>
    </vt:vector>
  </TitlesOfParts>
  <Manager/>
  <Company>Fujits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JITSU Lösungen mit Microsoft HCI –  Neue Produkte und erste Erfahrungen mit Azure Stack HCI aus der Praxis</dc:title>
  <dc:creator>Jung, Heiko</dc:creator>
  <cp:lastModifiedBy>Jung, Heiko</cp:lastModifiedBy>
  <cp:revision>51</cp:revision>
  <dcterms:created xsi:type="dcterms:W3CDTF">2021-05-07T08:35:16Z</dcterms:created>
  <dcterms:modified xsi:type="dcterms:W3CDTF">2021-05-19T09:34:16Z</dcterms:modified>
</cp:coreProperties>
</file>